
<file path=[Content_Types].xml><?xml version="1.0" encoding="utf-8"?>
<Types xmlns="http://schemas.openxmlformats.org/package/2006/content-types">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722" r:id="rId2"/>
  </p:sldMasterIdLst>
  <p:notesMasterIdLst>
    <p:notesMasterId r:id="rId21"/>
  </p:notesMasterIdLst>
  <p:sldIdLst>
    <p:sldId id="262" r:id="rId3"/>
    <p:sldId id="1192" r:id="rId4"/>
    <p:sldId id="276" r:id="rId5"/>
    <p:sldId id="1193" r:id="rId6"/>
    <p:sldId id="268" r:id="rId7"/>
    <p:sldId id="1194" r:id="rId8"/>
    <p:sldId id="275" r:id="rId9"/>
    <p:sldId id="1218" r:id="rId10"/>
    <p:sldId id="1224" r:id="rId11"/>
    <p:sldId id="1226" r:id="rId12"/>
    <p:sldId id="1228" r:id="rId13"/>
    <p:sldId id="1227" r:id="rId14"/>
    <p:sldId id="1219" r:id="rId15"/>
    <p:sldId id="1223" r:id="rId16"/>
    <p:sldId id="1222" r:id="rId17"/>
    <p:sldId id="1221" r:id="rId18"/>
    <p:sldId id="478" r:id="rId19"/>
    <p:sldId id="1210" r:id="rId20"/>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Welcome Slide" id="{011D6B4D-9AC4-49F5-9BB3-DC242DEAA1BB}">
          <p14:sldIdLst>
            <p14:sldId id="262"/>
            <p14:sldId id="1192"/>
            <p14:sldId id="276"/>
            <p14:sldId id="1193"/>
            <p14:sldId id="268"/>
          </p14:sldIdLst>
        </p14:section>
        <p14:section name="Untitled Section" id="{C3981933-FB98-40D9-954A-255EDCEB920C}">
          <p14:sldIdLst>
            <p14:sldId id="1194"/>
            <p14:sldId id="275"/>
            <p14:sldId id="1218"/>
            <p14:sldId id="1224"/>
            <p14:sldId id="1226"/>
            <p14:sldId id="1228"/>
            <p14:sldId id="1227"/>
            <p14:sldId id="1219"/>
            <p14:sldId id="1223"/>
            <p14:sldId id="1222"/>
            <p14:sldId id="1221"/>
          </p14:sldIdLst>
        </p14:section>
        <p14:section name="About us slides" id="{48DACBF2-6DA9-4F67-9C04-7CC28122C855}">
          <p14:sldIdLst>
            <p14:sldId id="478"/>
            <p14:sldId id="1210"/>
          </p14:sldIdLst>
        </p14:section>
        <p14:section name="Team SLide" id="{C3F835C1-F814-426F-A27A-4A2C11178D17}">
          <p14:sldIdLst/>
        </p14:section>
        <p14:section name="Breakslide" id="{D529E2E7-0F95-4981-8B31-C99D0F0FD130}">
          <p14:sldIdLst/>
        </p14:section>
        <p14:section name="Portfolio Slides" id="{85102E0C-D7D8-4564-91CB-1C8453D6498B}">
          <p14:sldIdLst/>
        </p14:section>
        <p14:section name="Infographic" id="{AC592024-3470-4F2D-95CD-374869DD882F}">
          <p14:sldIdLst/>
        </p14:section>
        <p14:section name="Contact us" id="{AE19375C-E4AE-401E-979F-1B2972262C33}">
          <p14:sldIdLst/>
        </p14:section>
        <p14:section name="Ending Slide" id="{A1B7A51C-E08F-4CB3-B9FE-25E7255AEF2E}">
          <p14:sldIdLst/>
        </p14:section>
      </p14:sectionLst>
    </p:ext>
    <p:ext uri="{EFAFB233-063F-42B5-8137-9DF3F51BA10A}">
      <p15:sldGuideLst xmlns:p15="http://schemas.microsoft.com/office/powerpoint/2012/main">
        <p15:guide id="1" orient="horz" pos="2160">
          <p15:clr>
            <a:srgbClr val="A4A3A4"/>
          </p15:clr>
        </p15:guide>
        <p15:guide id="2" pos="384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70AD47"/>
    <a:srgbClr val="FFCF01"/>
    <a:srgbClr val="FDD425"/>
    <a:srgbClr val="CFCF00"/>
    <a:srgbClr val="D6AD00"/>
    <a:srgbClr val="FFFF00"/>
    <a:srgbClr val="EE9012"/>
    <a:srgbClr val="2E2E2E"/>
    <a:srgbClr val="1F1D1B"/>
    <a:srgbClr val="0C0D0E"/>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3C472C3-D069-4E4E-9BC3-C7739F5A3617}" v="1" dt="2023-11-27T13:31:54.532"/>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2260" autoAdjust="0"/>
    <p:restoredTop sz="96232" autoAdjust="0"/>
  </p:normalViewPr>
  <p:slideViewPr>
    <p:cSldViewPr snapToGrid="0">
      <p:cViewPr varScale="1">
        <p:scale>
          <a:sx n="59" d="100"/>
          <a:sy n="59" d="100"/>
        </p:scale>
        <p:origin x="1068" y="48"/>
      </p:cViewPr>
      <p:guideLst>
        <p:guide orient="horz" pos="2160"/>
        <p:guide pos="3840"/>
      </p:guideLst>
    </p:cSldViewPr>
  </p:slideViewPr>
  <p:notesTextViewPr>
    <p:cViewPr>
      <p:scale>
        <a:sx n="1" d="1"/>
        <a:sy n="1" d="1"/>
      </p:scale>
      <p:origin x="0" y="0"/>
    </p:cViewPr>
  </p:notesTextViewPr>
  <p:sorterViewPr>
    <p:cViewPr>
      <p:scale>
        <a:sx n="100" d="100"/>
        <a:sy n="100" d="100"/>
      </p:scale>
      <p:origin x="0" y="-10242"/>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microsoft.com/office/2016/11/relationships/changesInfo" Target="changesInfos/changesInfo1.xml"/><Relationship Id="rId3" Type="http://schemas.openxmlformats.org/officeDocument/2006/relationships/slide" Target="slides/slide1.xml"/><Relationship Id="rId21" Type="http://schemas.openxmlformats.org/officeDocument/2006/relationships/notesMaster" Target="notesMasters/notesMaster1.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theme" Target="theme/theme1.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viewProps" Target="viewProps.xml"/><Relationship Id="rId10" Type="http://schemas.openxmlformats.org/officeDocument/2006/relationships/slide" Target="slides/slide8.xml"/><Relationship Id="rId19" Type="http://schemas.openxmlformats.org/officeDocument/2006/relationships/slide" Target="slides/slide17.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presProps" Target="presProps.xml"/><Relationship Id="rId27" Type="http://schemas.microsoft.com/office/2015/10/relationships/revisionInfo" Target="revisionInfo.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Jacqueline Nyathi" userId="40c01666-93cf-4f1a-9acf-8fa305d4dff3" providerId="ADAL" clId="{23C472C3-D069-4E4E-9BC3-C7739F5A3617}"/>
    <pc:docChg chg="undo custSel modSld addSection delSection">
      <pc:chgData name="Jacqueline Nyathi" userId="40c01666-93cf-4f1a-9acf-8fa305d4dff3" providerId="ADAL" clId="{23C472C3-D069-4E4E-9BC3-C7739F5A3617}" dt="2023-11-27T13:36:00.830" v="197" actId="14100"/>
      <pc:docMkLst>
        <pc:docMk/>
      </pc:docMkLst>
      <pc:sldChg chg="modSp mod">
        <pc:chgData name="Jacqueline Nyathi" userId="40c01666-93cf-4f1a-9acf-8fa305d4dff3" providerId="ADAL" clId="{23C472C3-D069-4E4E-9BC3-C7739F5A3617}" dt="2023-11-27T13:36:00.830" v="197" actId="14100"/>
        <pc:sldMkLst>
          <pc:docMk/>
          <pc:sldMk cId="1407897068" sldId="338"/>
        </pc:sldMkLst>
        <pc:spChg chg="mod">
          <ac:chgData name="Jacqueline Nyathi" userId="40c01666-93cf-4f1a-9acf-8fa305d4dff3" providerId="ADAL" clId="{23C472C3-D069-4E4E-9BC3-C7739F5A3617}" dt="2023-11-27T13:36:00.830" v="197" actId="14100"/>
          <ac:spMkLst>
            <pc:docMk/>
            <pc:sldMk cId="1407897068" sldId="338"/>
            <ac:spMk id="5" creationId="{82101AB7-066D-442A-8326-6AB0111520C5}"/>
          </ac:spMkLst>
        </pc:spChg>
      </pc:sldChg>
      <pc:sldChg chg="delSp modSp mod modNotesTx">
        <pc:chgData name="Jacqueline Nyathi" userId="40c01666-93cf-4f1a-9acf-8fa305d4dff3" providerId="ADAL" clId="{23C472C3-D069-4E4E-9BC3-C7739F5A3617}" dt="2023-11-27T13:34:35.250" v="181" actId="6549"/>
        <pc:sldMkLst>
          <pc:docMk/>
          <pc:sldMk cId="1354664647" sldId="893"/>
        </pc:sldMkLst>
        <pc:spChg chg="del mod">
          <ac:chgData name="Jacqueline Nyathi" userId="40c01666-93cf-4f1a-9acf-8fa305d4dff3" providerId="ADAL" clId="{23C472C3-D069-4E4E-9BC3-C7739F5A3617}" dt="2023-11-27T13:34:16.787" v="175" actId="478"/>
          <ac:spMkLst>
            <pc:docMk/>
            <pc:sldMk cId="1354664647" sldId="893"/>
            <ac:spMk id="3" creationId="{A5AADF9B-261A-404B-9A32-FD67399218F2}"/>
          </ac:spMkLst>
        </pc:spChg>
        <pc:spChg chg="mod">
          <ac:chgData name="Jacqueline Nyathi" userId="40c01666-93cf-4f1a-9acf-8fa305d4dff3" providerId="ADAL" clId="{23C472C3-D069-4E4E-9BC3-C7739F5A3617}" dt="2023-11-27T13:34:24.950" v="177" actId="1076"/>
          <ac:spMkLst>
            <pc:docMk/>
            <pc:sldMk cId="1354664647" sldId="893"/>
            <ac:spMk id="12" creationId="{DE72EEFE-054D-408B-9ED3-34077EA1666E}"/>
          </ac:spMkLst>
        </pc:spChg>
        <pc:spChg chg="mod">
          <ac:chgData name="Jacqueline Nyathi" userId="40c01666-93cf-4f1a-9acf-8fa305d4dff3" providerId="ADAL" clId="{23C472C3-D069-4E4E-9BC3-C7739F5A3617}" dt="2023-11-27T13:34:29.656" v="179" actId="1076"/>
          <ac:spMkLst>
            <pc:docMk/>
            <pc:sldMk cId="1354664647" sldId="893"/>
            <ac:spMk id="18" creationId="{DB5E1877-F0AE-49CD-9F06-62FF4B093CE4}"/>
          </ac:spMkLst>
        </pc:spChg>
        <pc:spChg chg="del mod">
          <ac:chgData name="Jacqueline Nyathi" userId="40c01666-93cf-4f1a-9acf-8fa305d4dff3" providerId="ADAL" clId="{23C472C3-D069-4E4E-9BC3-C7739F5A3617}" dt="2023-11-27T13:33:26.656" v="92" actId="478"/>
          <ac:spMkLst>
            <pc:docMk/>
            <pc:sldMk cId="1354664647" sldId="893"/>
            <ac:spMk id="19" creationId="{2B2D4C89-2E9D-467E-AD4D-0EE696E5CD87}"/>
          </ac:spMkLst>
        </pc:spChg>
        <pc:spChg chg="mod">
          <ac:chgData name="Jacqueline Nyathi" userId="40c01666-93cf-4f1a-9acf-8fa305d4dff3" providerId="ADAL" clId="{23C472C3-D069-4E4E-9BC3-C7739F5A3617}" dt="2023-11-27T13:33:16.944" v="90" actId="1076"/>
          <ac:spMkLst>
            <pc:docMk/>
            <pc:sldMk cId="1354664647" sldId="893"/>
            <ac:spMk id="20" creationId="{4B098DF3-53E0-49A0-A7F6-93A61461DB40}"/>
          </ac:spMkLst>
        </pc:spChg>
        <pc:spChg chg="mod">
          <ac:chgData name="Jacqueline Nyathi" userId="40c01666-93cf-4f1a-9acf-8fa305d4dff3" providerId="ADAL" clId="{23C472C3-D069-4E4E-9BC3-C7739F5A3617}" dt="2023-11-27T13:33:07.188" v="88" actId="1076"/>
          <ac:spMkLst>
            <pc:docMk/>
            <pc:sldMk cId="1354664647" sldId="893"/>
            <ac:spMk id="21" creationId="{CBA75FB6-227E-4CAC-8190-E865D41A0EFE}"/>
          </ac:spMkLst>
        </pc:spChg>
        <pc:spChg chg="mod">
          <ac:chgData name="Jacqueline Nyathi" userId="40c01666-93cf-4f1a-9acf-8fa305d4dff3" providerId="ADAL" clId="{23C472C3-D069-4E4E-9BC3-C7739F5A3617}" dt="2023-11-27T13:32:22.284" v="36" actId="1076"/>
          <ac:spMkLst>
            <pc:docMk/>
            <pc:sldMk cId="1354664647" sldId="893"/>
            <ac:spMk id="23555" creationId="{5B5B177B-B479-4839-89F3-B4CF4B1B5F38}"/>
          </ac:spMkLst>
        </pc:spChg>
        <pc:picChg chg="del">
          <ac:chgData name="Jacqueline Nyathi" userId="40c01666-93cf-4f1a-9acf-8fa305d4dff3" providerId="ADAL" clId="{23C472C3-D069-4E4E-9BC3-C7739F5A3617}" dt="2023-11-27T13:34:19.641" v="176" actId="478"/>
          <ac:picMkLst>
            <pc:docMk/>
            <pc:sldMk cId="1354664647" sldId="893"/>
            <ac:picMk id="4" creationId="{14F95FEA-3791-4CDD-B68A-D970C8A79F2B}"/>
          </ac:picMkLst>
        </pc:picChg>
        <pc:picChg chg="mod">
          <ac:chgData name="Jacqueline Nyathi" userId="40c01666-93cf-4f1a-9acf-8fa305d4dff3" providerId="ADAL" clId="{23C472C3-D069-4E4E-9BC3-C7739F5A3617}" dt="2023-11-27T13:34:26.683" v="178" actId="1076"/>
          <ac:picMkLst>
            <pc:docMk/>
            <pc:sldMk cId="1354664647" sldId="893"/>
            <ac:picMk id="5" creationId="{CA75C39F-2C57-417E-8E4E-FC8587C1CE42}"/>
          </ac:picMkLst>
        </pc:picChg>
        <pc:picChg chg="mod">
          <ac:chgData name="Jacqueline Nyathi" userId="40c01666-93cf-4f1a-9acf-8fa305d4dff3" providerId="ADAL" clId="{23C472C3-D069-4E4E-9BC3-C7739F5A3617}" dt="2023-11-27T13:32:13.124" v="34" actId="1076"/>
          <ac:picMkLst>
            <pc:docMk/>
            <pc:sldMk cId="1354664647" sldId="893"/>
            <ac:picMk id="9" creationId="{B29F08BF-69BD-4EEC-B69B-25C1FD86BAA2}"/>
          </ac:picMkLst>
        </pc:picChg>
        <pc:picChg chg="mod">
          <ac:chgData name="Jacqueline Nyathi" userId="40c01666-93cf-4f1a-9acf-8fa305d4dff3" providerId="ADAL" clId="{23C472C3-D069-4E4E-9BC3-C7739F5A3617}" dt="2023-11-27T13:33:01.249" v="86" actId="1076"/>
          <ac:picMkLst>
            <pc:docMk/>
            <pc:sldMk cId="1354664647" sldId="893"/>
            <ac:picMk id="11" creationId="{17C50328-D2EF-4CAA-A1F6-5EBBF45DA90D}"/>
          </ac:picMkLst>
        </pc:picChg>
        <pc:picChg chg="mod">
          <ac:chgData name="Jacqueline Nyathi" userId="40c01666-93cf-4f1a-9acf-8fa305d4dff3" providerId="ADAL" clId="{23C472C3-D069-4E4E-9BC3-C7739F5A3617}" dt="2023-11-27T13:33:13.982" v="89" actId="1076"/>
          <ac:picMkLst>
            <pc:docMk/>
            <pc:sldMk cId="1354664647" sldId="893"/>
            <ac:picMk id="13" creationId="{9351792B-AC5B-4819-86E7-F93F50C93E3C}"/>
          </ac:picMkLst>
        </pc:picChg>
        <pc:picChg chg="mod">
          <ac:chgData name="Jacqueline Nyathi" userId="40c01666-93cf-4f1a-9acf-8fa305d4dff3" providerId="ADAL" clId="{23C472C3-D069-4E4E-9BC3-C7739F5A3617}" dt="2023-11-27T13:34:31.343" v="180" actId="1076"/>
          <ac:picMkLst>
            <pc:docMk/>
            <pc:sldMk cId="1354664647" sldId="893"/>
            <ac:picMk id="14" creationId="{639A864B-E1B3-4383-8199-03F40A2F15E5}"/>
          </ac:picMkLst>
        </pc:picChg>
        <pc:picChg chg="del">
          <ac:chgData name="Jacqueline Nyathi" userId="40c01666-93cf-4f1a-9acf-8fa305d4dff3" providerId="ADAL" clId="{23C472C3-D069-4E4E-9BC3-C7739F5A3617}" dt="2023-11-27T13:33:27.830" v="93" actId="478"/>
          <ac:picMkLst>
            <pc:docMk/>
            <pc:sldMk cId="1354664647" sldId="893"/>
            <ac:picMk id="15" creationId="{CF6C0F86-8B49-42C7-A509-BFB3BDDE6C76}"/>
          </ac:picMkLst>
        </pc:pic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BC00E9AB-6F43-4814-8F1F-F7F65133BAB0}" type="datetimeFigureOut">
              <a:rPr lang="en-GB" smtClean="0"/>
              <a:t>03/10/2024</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CBEC19D-5331-4DA7-81B7-4ADCC083364A}" type="slidenum">
              <a:rPr lang="en-GB" smtClean="0"/>
              <a:t>‹#›</a:t>
            </a:fld>
            <a:endParaRPr lang="en-GB"/>
          </a:p>
        </p:txBody>
      </p:sp>
    </p:spTree>
    <p:extLst>
      <p:ext uri="{BB962C8B-B14F-4D97-AF65-F5344CB8AC3E}">
        <p14:creationId xmlns:p14="http://schemas.microsoft.com/office/powerpoint/2010/main" val="312802385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CBEC19D-5331-4DA7-81B7-4ADCC083364A}" type="slidenum">
              <a:rPr lang="en-GB" smtClean="0"/>
              <a:t>3</a:t>
            </a:fld>
            <a:endParaRPr lang="en-GB"/>
          </a:p>
        </p:txBody>
      </p:sp>
    </p:spTree>
    <p:extLst>
      <p:ext uri="{BB962C8B-B14F-4D97-AF65-F5344CB8AC3E}">
        <p14:creationId xmlns:p14="http://schemas.microsoft.com/office/powerpoint/2010/main" val="123912054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CBEC19D-5331-4DA7-81B7-4ADCC083364A}" type="slidenum">
              <a:rPr lang="en-GB" smtClean="0"/>
              <a:t>4</a:t>
            </a:fld>
            <a:endParaRPr lang="en-GB"/>
          </a:p>
        </p:txBody>
      </p:sp>
    </p:spTree>
    <p:extLst>
      <p:ext uri="{BB962C8B-B14F-4D97-AF65-F5344CB8AC3E}">
        <p14:creationId xmlns:p14="http://schemas.microsoft.com/office/powerpoint/2010/main" val="206146346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78643449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4_Title Slide">
    <p:spTree>
      <p:nvGrpSpPr>
        <p:cNvPr id="1" name=""/>
        <p:cNvGrpSpPr/>
        <p:nvPr/>
      </p:nvGrpSpPr>
      <p:grpSpPr>
        <a:xfrm>
          <a:off x="0" y="0"/>
          <a:ext cx="0" cy="0"/>
          <a:chOff x="0" y="0"/>
          <a:chExt cx="0" cy="0"/>
        </a:xfrm>
      </p:grpSpPr>
      <p:sp>
        <p:nvSpPr>
          <p:cNvPr id="8" name="Picture Placeholder 3">
            <a:extLst>
              <a:ext uri="{FF2B5EF4-FFF2-40B4-BE49-F238E27FC236}">
                <a16:creationId xmlns:a16="http://schemas.microsoft.com/office/drawing/2014/main" id="{112D27B9-EB96-4C44-806E-318DCE14395C}"/>
              </a:ext>
            </a:extLst>
          </p:cNvPr>
          <p:cNvSpPr>
            <a:spLocks noGrp="1"/>
          </p:cNvSpPr>
          <p:nvPr>
            <p:ph type="pic" sz="quarter" idx="11"/>
          </p:nvPr>
        </p:nvSpPr>
        <p:spPr>
          <a:xfrm>
            <a:off x="5562601" y="174530"/>
            <a:ext cx="3771900" cy="3182351"/>
          </a:xfrm>
          <a:pattFill prst="ltUpDiag">
            <a:fgClr>
              <a:schemeClr val="accent1"/>
            </a:fgClr>
            <a:bgClr>
              <a:schemeClr val="bg1"/>
            </a:bgClr>
          </a:pattFill>
        </p:spPr>
        <p:txBody>
          <a:bodyPr>
            <a:noAutofit/>
          </a:bodyPr>
          <a:lstStyle>
            <a:lvl1pPr>
              <a:defRPr sz="1000">
                <a:latin typeface="Arial" panose="020B0604020202020204" pitchFamily="34" charset="0"/>
                <a:cs typeface="Arial" panose="020B0604020202020204" pitchFamily="34" charset="0"/>
              </a:defRPr>
            </a:lvl1pPr>
          </a:lstStyle>
          <a:p>
            <a:endParaRPr lang="en-ID"/>
          </a:p>
        </p:txBody>
      </p:sp>
      <p:sp>
        <p:nvSpPr>
          <p:cNvPr id="9" name="Picture Placeholder 3">
            <a:extLst>
              <a:ext uri="{FF2B5EF4-FFF2-40B4-BE49-F238E27FC236}">
                <a16:creationId xmlns:a16="http://schemas.microsoft.com/office/drawing/2014/main" id="{EECC0C82-B227-40B6-A157-C353B0A60F7C}"/>
              </a:ext>
            </a:extLst>
          </p:cNvPr>
          <p:cNvSpPr>
            <a:spLocks noGrp="1"/>
          </p:cNvSpPr>
          <p:nvPr>
            <p:ph type="pic" sz="quarter" idx="12"/>
          </p:nvPr>
        </p:nvSpPr>
        <p:spPr>
          <a:xfrm>
            <a:off x="9490782" y="173529"/>
            <a:ext cx="2701218" cy="3182351"/>
          </a:xfrm>
          <a:pattFill prst="ltUpDiag">
            <a:fgClr>
              <a:schemeClr val="accent1"/>
            </a:fgClr>
            <a:bgClr>
              <a:schemeClr val="bg1"/>
            </a:bgClr>
          </a:pattFill>
        </p:spPr>
        <p:txBody>
          <a:bodyPr>
            <a:noAutofit/>
          </a:bodyPr>
          <a:lstStyle>
            <a:lvl1pPr>
              <a:defRPr sz="1000">
                <a:latin typeface="Arial" panose="020B0604020202020204" pitchFamily="34" charset="0"/>
                <a:cs typeface="Arial" panose="020B0604020202020204" pitchFamily="34" charset="0"/>
              </a:defRPr>
            </a:lvl1pPr>
          </a:lstStyle>
          <a:p>
            <a:endParaRPr lang="en-ID"/>
          </a:p>
        </p:txBody>
      </p:sp>
      <p:sp>
        <p:nvSpPr>
          <p:cNvPr id="10" name="Picture Placeholder 3">
            <a:extLst>
              <a:ext uri="{FF2B5EF4-FFF2-40B4-BE49-F238E27FC236}">
                <a16:creationId xmlns:a16="http://schemas.microsoft.com/office/drawing/2014/main" id="{77E7CFFF-736C-4E75-BD1E-67BC2F86130D}"/>
              </a:ext>
            </a:extLst>
          </p:cNvPr>
          <p:cNvSpPr>
            <a:spLocks noGrp="1"/>
          </p:cNvSpPr>
          <p:nvPr>
            <p:ph type="pic" sz="quarter" idx="13"/>
          </p:nvPr>
        </p:nvSpPr>
        <p:spPr>
          <a:xfrm>
            <a:off x="5562600" y="3509643"/>
            <a:ext cx="6638926" cy="3182351"/>
          </a:xfrm>
          <a:pattFill prst="ltUpDiag">
            <a:fgClr>
              <a:schemeClr val="accent1"/>
            </a:fgClr>
            <a:bgClr>
              <a:schemeClr val="bg1"/>
            </a:bgClr>
          </a:pattFill>
        </p:spPr>
        <p:txBody>
          <a:bodyPr>
            <a:noAutofit/>
          </a:bodyPr>
          <a:lstStyle>
            <a:lvl1pPr>
              <a:defRPr sz="1000">
                <a:latin typeface="Arial" panose="020B0604020202020204" pitchFamily="34" charset="0"/>
                <a:cs typeface="Arial" panose="020B0604020202020204" pitchFamily="34" charset="0"/>
              </a:defRPr>
            </a:lvl1pPr>
          </a:lstStyle>
          <a:p>
            <a:endParaRPr lang="en-ID"/>
          </a:p>
        </p:txBody>
      </p:sp>
    </p:spTree>
    <p:extLst>
      <p:ext uri="{BB962C8B-B14F-4D97-AF65-F5344CB8AC3E}">
        <p14:creationId xmlns:p14="http://schemas.microsoft.com/office/powerpoint/2010/main" val="379918527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3_Title Slide">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F0405DF7-B45D-4C92-9AD2-7B909EDAD2D7}"/>
              </a:ext>
            </a:extLst>
          </p:cNvPr>
          <p:cNvSpPr>
            <a:spLocks noGrp="1"/>
          </p:cNvSpPr>
          <p:nvPr>
            <p:ph type="pic" sz="quarter" idx="10"/>
          </p:nvPr>
        </p:nvSpPr>
        <p:spPr>
          <a:xfrm>
            <a:off x="5534075" y="229965"/>
            <a:ext cx="6413369" cy="6398069"/>
          </a:xfrm>
          <a:custGeom>
            <a:avLst/>
            <a:gdLst>
              <a:gd name="connsiteX0" fmla="*/ 3308808 w 6413369"/>
              <a:gd name="connsiteY0" fmla="*/ 3299381 h 6398069"/>
              <a:gd name="connsiteX1" fmla="*/ 6413369 w 6413369"/>
              <a:gd name="connsiteY1" fmla="*/ 3299381 h 6398069"/>
              <a:gd name="connsiteX2" fmla="*/ 6413369 w 6413369"/>
              <a:gd name="connsiteY2" fmla="*/ 6398069 h 6398069"/>
              <a:gd name="connsiteX3" fmla="*/ 3308808 w 6413369"/>
              <a:gd name="connsiteY3" fmla="*/ 6398069 h 6398069"/>
              <a:gd name="connsiteX4" fmla="*/ 0 w 6413369"/>
              <a:gd name="connsiteY4" fmla="*/ 3299381 h 6398069"/>
              <a:gd name="connsiteX5" fmla="*/ 3104561 w 6413369"/>
              <a:gd name="connsiteY5" fmla="*/ 3299381 h 6398069"/>
              <a:gd name="connsiteX6" fmla="*/ 3104561 w 6413369"/>
              <a:gd name="connsiteY6" fmla="*/ 6398069 h 6398069"/>
              <a:gd name="connsiteX7" fmla="*/ 0 w 6413369"/>
              <a:gd name="connsiteY7" fmla="*/ 6398069 h 6398069"/>
              <a:gd name="connsiteX8" fmla="*/ 3308808 w 6413369"/>
              <a:gd name="connsiteY8" fmla="*/ 0 h 6398069"/>
              <a:gd name="connsiteX9" fmla="*/ 6413369 w 6413369"/>
              <a:gd name="connsiteY9" fmla="*/ 0 h 6398069"/>
              <a:gd name="connsiteX10" fmla="*/ 6413369 w 6413369"/>
              <a:gd name="connsiteY10" fmla="*/ 3104561 h 6398069"/>
              <a:gd name="connsiteX11" fmla="*/ 3308808 w 6413369"/>
              <a:gd name="connsiteY11" fmla="*/ 3104561 h 6398069"/>
              <a:gd name="connsiteX12" fmla="*/ 0 w 6413369"/>
              <a:gd name="connsiteY12" fmla="*/ 0 h 6398069"/>
              <a:gd name="connsiteX13" fmla="*/ 3104561 w 6413369"/>
              <a:gd name="connsiteY13" fmla="*/ 0 h 6398069"/>
              <a:gd name="connsiteX14" fmla="*/ 3104561 w 6413369"/>
              <a:gd name="connsiteY14" fmla="*/ 3104561 h 6398069"/>
              <a:gd name="connsiteX15" fmla="*/ 0 w 6413369"/>
              <a:gd name="connsiteY15" fmla="*/ 3104561 h 63980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413369" h="6398069">
                <a:moveTo>
                  <a:pt x="3308808" y="3299381"/>
                </a:moveTo>
                <a:lnTo>
                  <a:pt x="6413369" y="3299381"/>
                </a:lnTo>
                <a:lnTo>
                  <a:pt x="6413369" y="6398069"/>
                </a:lnTo>
                <a:lnTo>
                  <a:pt x="3308808" y="6398069"/>
                </a:lnTo>
                <a:close/>
                <a:moveTo>
                  <a:pt x="0" y="3299381"/>
                </a:moveTo>
                <a:lnTo>
                  <a:pt x="3104561" y="3299381"/>
                </a:lnTo>
                <a:lnTo>
                  <a:pt x="3104561" y="6398069"/>
                </a:lnTo>
                <a:lnTo>
                  <a:pt x="0" y="6398069"/>
                </a:lnTo>
                <a:close/>
                <a:moveTo>
                  <a:pt x="3308808" y="0"/>
                </a:moveTo>
                <a:lnTo>
                  <a:pt x="6413369" y="0"/>
                </a:lnTo>
                <a:lnTo>
                  <a:pt x="6413369" y="3104561"/>
                </a:lnTo>
                <a:lnTo>
                  <a:pt x="3308808" y="3104561"/>
                </a:lnTo>
                <a:close/>
                <a:moveTo>
                  <a:pt x="0" y="0"/>
                </a:moveTo>
                <a:lnTo>
                  <a:pt x="3104561" y="0"/>
                </a:lnTo>
                <a:lnTo>
                  <a:pt x="3104561" y="3104561"/>
                </a:lnTo>
                <a:lnTo>
                  <a:pt x="0" y="3104561"/>
                </a:lnTo>
                <a:close/>
              </a:path>
            </a:pathLst>
          </a:custGeom>
          <a:pattFill prst="dkDnDiag">
            <a:fgClr>
              <a:schemeClr val="accent1"/>
            </a:fgClr>
            <a:bgClr>
              <a:schemeClr val="bg1"/>
            </a:bgClr>
          </a:pattFill>
          <a:effectLst/>
        </p:spPr>
        <p:txBody>
          <a:bodyPr wrap="square">
            <a:noAutofit/>
          </a:bodyPr>
          <a:lstStyle>
            <a:lvl1pPr>
              <a:defRPr sz="1000">
                <a:latin typeface="Arial" panose="020B0604020202020204" pitchFamily="34" charset="0"/>
                <a:cs typeface="Arial" panose="020B0604020202020204" pitchFamily="34" charset="0"/>
              </a:defRPr>
            </a:lvl1pPr>
          </a:lstStyle>
          <a:p>
            <a:endParaRPr lang="en-ID"/>
          </a:p>
        </p:txBody>
      </p:sp>
      <p:sp>
        <p:nvSpPr>
          <p:cNvPr id="4" name="Picture Placeholder 3">
            <a:extLst>
              <a:ext uri="{FF2B5EF4-FFF2-40B4-BE49-F238E27FC236}">
                <a16:creationId xmlns:a16="http://schemas.microsoft.com/office/drawing/2014/main" id="{427F6731-7081-44D9-98B4-C52E9B7649EC}"/>
              </a:ext>
            </a:extLst>
          </p:cNvPr>
          <p:cNvSpPr>
            <a:spLocks noGrp="1"/>
          </p:cNvSpPr>
          <p:nvPr>
            <p:ph type="pic" sz="quarter" idx="11"/>
          </p:nvPr>
        </p:nvSpPr>
        <p:spPr>
          <a:xfrm>
            <a:off x="0" y="3516198"/>
            <a:ext cx="5329287" cy="3111837"/>
          </a:xfrm>
          <a:pattFill prst="ltUpDiag">
            <a:fgClr>
              <a:schemeClr val="accent1"/>
            </a:fgClr>
            <a:bgClr>
              <a:schemeClr val="bg1"/>
            </a:bgClr>
          </a:pattFill>
        </p:spPr>
        <p:txBody>
          <a:bodyPr>
            <a:noAutofit/>
          </a:bodyPr>
          <a:lstStyle>
            <a:lvl1pPr>
              <a:defRPr sz="1000">
                <a:latin typeface="Arial" panose="020B0604020202020204" pitchFamily="34" charset="0"/>
                <a:cs typeface="Arial" panose="020B0604020202020204" pitchFamily="34" charset="0"/>
              </a:defRPr>
            </a:lvl1pPr>
          </a:lstStyle>
          <a:p>
            <a:endParaRPr lang="en-ID"/>
          </a:p>
        </p:txBody>
      </p:sp>
    </p:spTree>
    <p:extLst>
      <p:ext uri="{BB962C8B-B14F-4D97-AF65-F5344CB8AC3E}">
        <p14:creationId xmlns:p14="http://schemas.microsoft.com/office/powerpoint/2010/main" val="127137613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1_Title Slide">
    <p:spTree>
      <p:nvGrpSpPr>
        <p:cNvPr id="1" name=""/>
        <p:cNvGrpSpPr/>
        <p:nvPr/>
      </p:nvGrpSpPr>
      <p:grpSpPr>
        <a:xfrm>
          <a:off x="0" y="0"/>
          <a:ext cx="0" cy="0"/>
          <a:chOff x="0" y="0"/>
          <a:chExt cx="0" cy="0"/>
        </a:xfrm>
      </p:grpSpPr>
      <p:sp>
        <p:nvSpPr>
          <p:cNvPr id="3" name="Picture Placeholder 3">
            <a:extLst>
              <a:ext uri="{FF2B5EF4-FFF2-40B4-BE49-F238E27FC236}">
                <a16:creationId xmlns:a16="http://schemas.microsoft.com/office/drawing/2014/main" id="{360A38F9-D9A0-4D5D-8725-AF6143D52C01}"/>
              </a:ext>
            </a:extLst>
          </p:cNvPr>
          <p:cNvSpPr>
            <a:spLocks noGrp="1"/>
          </p:cNvSpPr>
          <p:nvPr>
            <p:ph type="pic" sz="quarter" idx="10"/>
          </p:nvPr>
        </p:nvSpPr>
        <p:spPr>
          <a:xfrm>
            <a:off x="8344786" y="0"/>
            <a:ext cx="3847214" cy="6869409"/>
          </a:xfrm>
          <a:pattFill prst="ltUpDiag">
            <a:fgClr>
              <a:schemeClr val="accent1"/>
            </a:fgClr>
            <a:bgClr>
              <a:schemeClr val="bg1"/>
            </a:bgClr>
          </a:pattFill>
        </p:spPr>
        <p:txBody>
          <a:bodyPr>
            <a:noAutofit/>
          </a:bodyPr>
          <a:lstStyle>
            <a:lvl1pPr>
              <a:defRPr sz="1000">
                <a:latin typeface="Arial" panose="020B0604020202020204" pitchFamily="34" charset="0"/>
                <a:cs typeface="Arial" panose="020B0604020202020204" pitchFamily="34" charset="0"/>
              </a:defRPr>
            </a:lvl1pPr>
          </a:lstStyle>
          <a:p>
            <a:endParaRPr lang="en-ID"/>
          </a:p>
        </p:txBody>
      </p:sp>
    </p:spTree>
    <p:extLst>
      <p:ext uri="{BB962C8B-B14F-4D97-AF65-F5344CB8AC3E}">
        <p14:creationId xmlns:p14="http://schemas.microsoft.com/office/powerpoint/2010/main" val="415032170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2_Title Slide">
    <p:spTree>
      <p:nvGrpSpPr>
        <p:cNvPr id="1" name=""/>
        <p:cNvGrpSpPr/>
        <p:nvPr/>
      </p:nvGrpSpPr>
      <p:grpSpPr>
        <a:xfrm>
          <a:off x="0" y="0"/>
          <a:ext cx="0" cy="0"/>
          <a:chOff x="0" y="0"/>
          <a:chExt cx="0" cy="0"/>
        </a:xfrm>
      </p:grpSpPr>
      <p:sp>
        <p:nvSpPr>
          <p:cNvPr id="3" name="Picture Placeholder 3">
            <a:extLst>
              <a:ext uri="{FF2B5EF4-FFF2-40B4-BE49-F238E27FC236}">
                <a16:creationId xmlns:a16="http://schemas.microsoft.com/office/drawing/2014/main" id="{360A38F9-D9A0-4D5D-8725-AF6143D52C01}"/>
              </a:ext>
            </a:extLst>
          </p:cNvPr>
          <p:cNvSpPr>
            <a:spLocks noGrp="1"/>
          </p:cNvSpPr>
          <p:nvPr>
            <p:ph type="pic" sz="quarter" idx="10"/>
          </p:nvPr>
        </p:nvSpPr>
        <p:spPr>
          <a:xfrm>
            <a:off x="1" y="1"/>
            <a:ext cx="12192000" cy="4076700"/>
          </a:xfrm>
          <a:pattFill prst="ltUpDiag">
            <a:fgClr>
              <a:schemeClr val="accent1"/>
            </a:fgClr>
            <a:bgClr>
              <a:schemeClr val="bg1"/>
            </a:bgClr>
          </a:pattFill>
        </p:spPr>
        <p:txBody>
          <a:bodyPr>
            <a:noAutofit/>
          </a:bodyPr>
          <a:lstStyle>
            <a:lvl1pPr>
              <a:defRPr sz="1000">
                <a:latin typeface="Arial" panose="020B0604020202020204" pitchFamily="34" charset="0"/>
                <a:cs typeface="Arial" panose="020B0604020202020204" pitchFamily="34" charset="0"/>
              </a:defRPr>
            </a:lvl1pPr>
          </a:lstStyle>
          <a:p>
            <a:endParaRPr lang="en-ID"/>
          </a:p>
        </p:txBody>
      </p:sp>
    </p:spTree>
    <p:extLst>
      <p:ext uri="{BB962C8B-B14F-4D97-AF65-F5344CB8AC3E}">
        <p14:creationId xmlns:p14="http://schemas.microsoft.com/office/powerpoint/2010/main" val="113721391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0_Title Slide">
    <p:spTree>
      <p:nvGrpSpPr>
        <p:cNvPr id="1" name=""/>
        <p:cNvGrpSpPr/>
        <p:nvPr/>
      </p:nvGrpSpPr>
      <p:grpSpPr>
        <a:xfrm>
          <a:off x="0" y="0"/>
          <a:ext cx="0" cy="0"/>
          <a:chOff x="0" y="0"/>
          <a:chExt cx="0" cy="0"/>
        </a:xfrm>
      </p:grpSpPr>
      <p:sp>
        <p:nvSpPr>
          <p:cNvPr id="3" name="Rectangle 6">
            <a:extLst>
              <a:ext uri="{FF2B5EF4-FFF2-40B4-BE49-F238E27FC236}">
                <a16:creationId xmlns:a16="http://schemas.microsoft.com/office/drawing/2014/main" id="{9D0AB4E6-9835-45E1-83F2-0C1A808309F4}"/>
              </a:ext>
            </a:extLst>
          </p:cNvPr>
          <p:cNvSpPr/>
          <p:nvPr userDrawn="1"/>
        </p:nvSpPr>
        <p:spPr>
          <a:xfrm>
            <a:off x="1159496" y="0"/>
            <a:ext cx="11032503" cy="6858000"/>
          </a:xfrm>
          <a:custGeom>
            <a:avLst/>
            <a:gdLst>
              <a:gd name="connsiteX0" fmla="*/ 0 w 10020300"/>
              <a:gd name="connsiteY0" fmla="*/ 0 h 6858000"/>
              <a:gd name="connsiteX1" fmla="*/ 10020300 w 10020300"/>
              <a:gd name="connsiteY1" fmla="*/ 0 h 6858000"/>
              <a:gd name="connsiteX2" fmla="*/ 10020300 w 10020300"/>
              <a:gd name="connsiteY2" fmla="*/ 6858000 h 6858000"/>
              <a:gd name="connsiteX3" fmla="*/ 0 w 10020300"/>
              <a:gd name="connsiteY3" fmla="*/ 6858000 h 6858000"/>
              <a:gd name="connsiteX4" fmla="*/ 0 w 10020300"/>
              <a:gd name="connsiteY4" fmla="*/ 0 h 6858000"/>
              <a:gd name="connsiteX0" fmla="*/ 3535 w 10023835"/>
              <a:gd name="connsiteY0" fmla="*/ 0 h 6858000"/>
              <a:gd name="connsiteX1" fmla="*/ 10023835 w 10023835"/>
              <a:gd name="connsiteY1" fmla="*/ 0 h 6858000"/>
              <a:gd name="connsiteX2" fmla="*/ 10023835 w 10023835"/>
              <a:gd name="connsiteY2" fmla="*/ 6858000 h 6858000"/>
              <a:gd name="connsiteX3" fmla="*/ 3535 w 10023835"/>
              <a:gd name="connsiteY3" fmla="*/ 6858000 h 6858000"/>
              <a:gd name="connsiteX4" fmla="*/ 0 w 10023835"/>
              <a:gd name="connsiteY4" fmla="*/ 3374796 h 6858000"/>
              <a:gd name="connsiteX5" fmla="*/ 3535 w 10023835"/>
              <a:gd name="connsiteY5" fmla="*/ 0 h 6858000"/>
              <a:gd name="connsiteX0" fmla="*/ 1012203 w 11032503"/>
              <a:gd name="connsiteY0" fmla="*/ 0 h 6858000"/>
              <a:gd name="connsiteX1" fmla="*/ 11032503 w 11032503"/>
              <a:gd name="connsiteY1" fmla="*/ 0 h 6858000"/>
              <a:gd name="connsiteX2" fmla="*/ 11032503 w 11032503"/>
              <a:gd name="connsiteY2" fmla="*/ 6858000 h 6858000"/>
              <a:gd name="connsiteX3" fmla="*/ 1012203 w 11032503"/>
              <a:gd name="connsiteY3" fmla="*/ 6858000 h 6858000"/>
              <a:gd name="connsiteX4" fmla="*/ 0 w 11032503"/>
              <a:gd name="connsiteY4" fmla="*/ 3403076 h 6858000"/>
              <a:gd name="connsiteX5" fmla="*/ 1012203 w 11032503"/>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032503" h="6858000">
                <a:moveTo>
                  <a:pt x="1012203" y="0"/>
                </a:moveTo>
                <a:lnTo>
                  <a:pt x="11032503" y="0"/>
                </a:lnTo>
                <a:lnTo>
                  <a:pt x="11032503" y="6858000"/>
                </a:lnTo>
                <a:lnTo>
                  <a:pt x="1012203" y="6858000"/>
                </a:lnTo>
                <a:cubicBezTo>
                  <a:pt x="1011025" y="5696932"/>
                  <a:pt x="1178" y="4564144"/>
                  <a:pt x="0" y="3403076"/>
                </a:cubicBezTo>
                <a:cubicBezTo>
                  <a:pt x="1178" y="2278144"/>
                  <a:pt x="1011025" y="1124932"/>
                  <a:pt x="1012203" y="0"/>
                </a:cubicBezTo>
                <a:close/>
              </a:path>
            </a:pathLst>
          </a:custGeom>
          <a:solidFill>
            <a:srgbClr val="FFCF0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p>
        </p:txBody>
      </p:sp>
      <p:grpSp>
        <p:nvGrpSpPr>
          <p:cNvPr id="5" name="Graphic 66">
            <a:extLst>
              <a:ext uri="{FF2B5EF4-FFF2-40B4-BE49-F238E27FC236}">
                <a16:creationId xmlns:a16="http://schemas.microsoft.com/office/drawing/2014/main" id="{820517B5-ADA8-44FF-A787-10B6CD442134}"/>
              </a:ext>
            </a:extLst>
          </p:cNvPr>
          <p:cNvGrpSpPr/>
          <p:nvPr userDrawn="1"/>
        </p:nvGrpSpPr>
        <p:grpSpPr>
          <a:xfrm>
            <a:off x="4540469" y="-509066"/>
            <a:ext cx="7044840" cy="8253260"/>
            <a:chOff x="4240193" y="843710"/>
            <a:chExt cx="481660" cy="564281"/>
          </a:xfrm>
        </p:grpSpPr>
        <p:sp>
          <p:nvSpPr>
            <p:cNvPr id="6" name="Freeform: Shape 5">
              <a:extLst>
                <a:ext uri="{FF2B5EF4-FFF2-40B4-BE49-F238E27FC236}">
                  <a16:creationId xmlns:a16="http://schemas.microsoft.com/office/drawing/2014/main" id="{59170A92-45E1-422D-A94A-B4E396AFEFDF}"/>
                </a:ext>
              </a:extLst>
            </p:cNvPr>
            <p:cNvSpPr/>
            <p:nvPr/>
          </p:nvSpPr>
          <p:spPr>
            <a:xfrm>
              <a:off x="4369611" y="973104"/>
              <a:ext cx="260765" cy="305489"/>
            </a:xfrm>
            <a:custGeom>
              <a:avLst/>
              <a:gdLst>
                <a:gd name="connsiteX0" fmla="*/ -158 w 260765"/>
                <a:gd name="connsiteY0" fmla="*/ 152668 h 305489"/>
                <a:gd name="connsiteX1" fmla="*/ 152588 w 260765"/>
                <a:gd name="connsiteY1" fmla="*/ 305421 h 305489"/>
                <a:gd name="connsiteX2" fmla="*/ 260607 w 260765"/>
                <a:gd name="connsiteY2" fmla="*/ 260672 h 305489"/>
                <a:gd name="connsiteX3" fmla="*/ 152603 w 260765"/>
                <a:gd name="connsiteY3" fmla="*/ 152653 h 305489"/>
                <a:gd name="connsiteX4" fmla="*/ 260592 w 260765"/>
                <a:gd name="connsiteY4" fmla="*/ 44665 h 305489"/>
                <a:gd name="connsiteX5" fmla="*/ 44569 w 260765"/>
                <a:gd name="connsiteY5" fmla="*/ 44673 h 305489"/>
                <a:gd name="connsiteX6" fmla="*/ -158 w 260765"/>
                <a:gd name="connsiteY6" fmla="*/ 152668 h 3054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0765" h="305489">
                  <a:moveTo>
                    <a:pt x="-158" y="152668"/>
                  </a:moveTo>
                  <a:cubicBezTo>
                    <a:pt x="-158" y="237028"/>
                    <a:pt x="68220" y="305418"/>
                    <a:pt x="152588" y="305421"/>
                  </a:cubicBezTo>
                  <a:cubicBezTo>
                    <a:pt x="193106" y="305423"/>
                    <a:pt x="231959" y="289326"/>
                    <a:pt x="260607" y="260672"/>
                  </a:cubicBezTo>
                  <a:lnTo>
                    <a:pt x="152603" y="152653"/>
                  </a:lnTo>
                  <a:lnTo>
                    <a:pt x="260592" y="44665"/>
                  </a:lnTo>
                  <a:cubicBezTo>
                    <a:pt x="200945" y="-14984"/>
                    <a:pt x="104231" y="-14981"/>
                    <a:pt x="44569" y="44673"/>
                  </a:cubicBezTo>
                  <a:cubicBezTo>
                    <a:pt x="15936" y="73316"/>
                    <a:pt x="-158" y="112162"/>
                    <a:pt x="-158" y="152668"/>
                  </a:cubicBezTo>
                  <a:close/>
                </a:path>
              </a:pathLst>
            </a:custGeom>
            <a:noFill/>
            <a:ln w="14868" cap="flat">
              <a:noFill/>
              <a:prstDash val="solid"/>
              <a:miter/>
            </a:ln>
          </p:spPr>
          <p:txBody>
            <a:bodyPr rtlCol="0" anchor="ctr"/>
            <a:lstStyle/>
            <a:p>
              <a:endParaRPr lang="en-ID"/>
            </a:p>
          </p:txBody>
        </p:sp>
        <p:sp>
          <p:nvSpPr>
            <p:cNvPr id="7" name="Freeform: Shape 6">
              <a:extLst>
                <a:ext uri="{FF2B5EF4-FFF2-40B4-BE49-F238E27FC236}">
                  <a16:creationId xmlns:a16="http://schemas.microsoft.com/office/drawing/2014/main" id="{3903627E-DE83-4BD0-AD38-F72E83D8AF58}"/>
                </a:ext>
              </a:extLst>
            </p:cNvPr>
            <p:cNvSpPr/>
            <p:nvPr/>
          </p:nvSpPr>
          <p:spPr>
            <a:xfrm>
              <a:off x="4240193" y="843710"/>
              <a:ext cx="481660" cy="564281"/>
            </a:xfrm>
            <a:custGeom>
              <a:avLst/>
              <a:gdLst>
                <a:gd name="connsiteX0" fmla="*/ 282005 w 481660"/>
                <a:gd name="connsiteY0" fmla="*/ 434809 h 564281"/>
                <a:gd name="connsiteX1" fmla="*/ 129244 w 481660"/>
                <a:gd name="connsiteY1" fmla="*/ 282072 h 564281"/>
                <a:gd name="connsiteX2" fmla="*/ 281991 w 481660"/>
                <a:gd name="connsiteY2" fmla="*/ 129317 h 564281"/>
                <a:gd name="connsiteX3" fmla="*/ 390009 w 481660"/>
                <a:gd name="connsiteY3" fmla="*/ 174059 h 564281"/>
                <a:gd name="connsiteX4" fmla="*/ 481502 w 481660"/>
                <a:gd name="connsiteY4" fmla="*/ 82581 h 564281"/>
                <a:gd name="connsiteX5" fmla="*/ 82494 w 481660"/>
                <a:gd name="connsiteY5" fmla="*/ 82554 h 564281"/>
                <a:gd name="connsiteX6" fmla="*/ 82464 w 481660"/>
                <a:gd name="connsiteY6" fmla="*/ 481560 h 564281"/>
                <a:gd name="connsiteX7" fmla="*/ 481473 w 481660"/>
                <a:gd name="connsiteY7" fmla="*/ 481590 h 564281"/>
                <a:gd name="connsiteX8" fmla="*/ 481502 w 481660"/>
                <a:gd name="connsiteY8" fmla="*/ 481560 h 564281"/>
                <a:gd name="connsiteX9" fmla="*/ 390024 w 481660"/>
                <a:gd name="connsiteY9" fmla="*/ 390067 h 564281"/>
                <a:gd name="connsiteX10" fmla="*/ 282005 w 481660"/>
                <a:gd name="connsiteY10" fmla="*/ 434809 h 5642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81660" h="564281">
                  <a:moveTo>
                    <a:pt x="282005" y="434809"/>
                  </a:moveTo>
                  <a:cubicBezTo>
                    <a:pt x="197652" y="434814"/>
                    <a:pt x="129259" y="366431"/>
                    <a:pt x="129244" y="282072"/>
                  </a:cubicBezTo>
                  <a:cubicBezTo>
                    <a:pt x="129244" y="197713"/>
                    <a:pt x="197623" y="129321"/>
                    <a:pt x="281991" y="129317"/>
                  </a:cubicBezTo>
                  <a:cubicBezTo>
                    <a:pt x="322509" y="129315"/>
                    <a:pt x="361361" y="145410"/>
                    <a:pt x="390009" y="174059"/>
                  </a:cubicBezTo>
                  <a:lnTo>
                    <a:pt x="481502" y="82581"/>
                  </a:lnTo>
                  <a:cubicBezTo>
                    <a:pt x="371327" y="-27609"/>
                    <a:pt x="192684" y="-27621"/>
                    <a:pt x="82494" y="82554"/>
                  </a:cubicBezTo>
                  <a:cubicBezTo>
                    <a:pt x="-27697" y="192730"/>
                    <a:pt x="-27711" y="371370"/>
                    <a:pt x="82464" y="481560"/>
                  </a:cubicBezTo>
                  <a:cubicBezTo>
                    <a:pt x="192639" y="591750"/>
                    <a:pt x="371282" y="591765"/>
                    <a:pt x="481473" y="481590"/>
                  </a:cubicBezTo>
                  <a:cubicBezTo>
                    <a:pt x="481488" y="481575"/>
                    <a:pt x="481488" y="481575"/>
                    <a:pt x="481502" y="481560"/>
                  </a:cubicBezTo>
                  <a:lnTo>
                    <a:pt x="390024" y="390067"/>
                  </a:lnTo>
                  <a:cubicBezTo>
                    <a:pt x="361406" y="418764"/>
                    <a:pt x="322539" y="434867"/>
                    <a:pt x="282005" y="434809"/>
                  </a:cubicBezTo>
                  <a:close/>
                </a:path>
              </a:pathLst>
            </a:custGeom>
            <a:solidFill>
              <a:schemeClr val="tx1">
                <a:lumMod val="95000"/>
                <a:lumOff val="5000"/>
                <a:alpha val="5000"/>
              </a:schemeClr>
            </a:solidFill>
            <a:ln w="14868" cap="flat">
              <a:noFill/>
              <a:prstDash val="solid"/>
              <a:miter/>
            </a:ln>
          </p:spPr>
          <p:txBody>
            <a:bodyPr rtlCol="0" anchor="ctr"/>
            <a:lstStyle/>
            <a:p>
              <a:endParaRPr lang="en-ID"/>
            </a:p>
          </p:txBody>
        </p:sp>
        <p:sp>
          <p:nvSpPr>
            <p:cNvPr id="8" name="Freeform: Shape 7">
              <a:extLst>
                <a:ext uri="{FF2B5EF4-FFF2-40B4-BE49-F238E27FC236}">
                  <a16:creationId xmlns:a16="http://schemas.microsoft.com/office/drawing/2014/main" id="{FB706F18-45ED-49A4-A712-F1E865423257}"/>
                </a:ext>
              </a:extLst>
            </p:cNvPr>
            <p:cNvSpPr/>
            <p:nvPr/>
          </p:nvSpPr>
          <p:spPr>
            <a:xfrm>
              <a:off x="4522387" y="1017838"/>
              <a:ext cx="152724" cy="216007"/>
            </a:xfrm>
            <a:custGeom>
              <a:avLst/>
              <a:gdLst>
                <a:gd name="connsiteX0" fmla="*/ 107831 w 152724"/>
                <a:gd name="connsiteY0" fmla="*/ 215938 h 216007"/>
                <a:gd name="connsiteX1" fmla="*/ 107831 w 152724"/>
                <a:gd name="connsiteY1" fmla="*/ -69 h 216007"/>
                <a:gd name="connsiteX2" fmla="*/ -158 w 152724"/>
                <a:gd name="connsiteY2" fmla="*/ 107919 h 216007"/>
              </a:gdLst>
              <a:ahLst/>
              <a:cxnLst>
                <a:cxn ang="0">
                  <a:pos x="connsiteX0" y="connsiteY0"/>
                </a:cxn>
                <a:cxn ang="0">
                  <a:pos x="connsiteX1" y="connsiteY1"/>
                </a:cxn>
                <a:cxn ang="0">
                  <a:pos x="connsiteX2" y="connsiteY2"/>
                </a:cxn>
              </a:cxnLst>
              <a:rect l="l" t="t" r="r" b="b"/>
              <a:pathLst>
                <a:path w="152724" h="216007">
                  <a:moveTo>
                    <a:pt x="107831" y="215938"/>
                  </a:moveTo>
                  <a:cubicBezTo>
                    <a:pt x="167477" y="156288"/>
                    <a:pt x="167477" y="59580"/>
                    <a:pt x="107831" y="-69"/>
                  </a:cubicBezTo>
                  <a:lnTo>
                    <a:pt x="-158" y="107919"/>
                  </a:lnTo>
                  <a:close/>
                </a:path>
              </a:pathLst>
            </a:custGeom>
            <a:solidFill>
              <a:schemeClr val="bg2">
                <a:lumMod val="25000"/>
                <a:alpha val="10000"/>
              </a:schemeClr>
            </a:solidFill>
            <a:ln w="14868" cap="flat">
              <a:noFill/>
              <a:prstDash val="solid"/>
              <a:miter/>
            </a:ln>
          </p:spPr>
          <p:txBody>
            <a:bodyPr rtlCol="0" anchor="ctr"/>
            <a:lstStyle/>
            <a:p>
              <a:endParaRPr lang="en-ID"/>
            </a:p>
          </p:txBody>
        </p:sp>
      </p:grpSp>
      <p:sp>
        <p:nvSpPr>
          <p:cNvPr id="4" name="Picture Placeholder 3">
            <a:extLst>
              <a:ext uri="{FF2B5EF4-FFF2-40B4-BE49-F238E27FC236}">
                <a16:creationId xmlns:a16="http://schemas.microsoft.com/office/drawing/2014/main" id="{28C21FF6-1B89-4A38-AD59-2FD32502DD3C}"/>
              </a:ext>
            </a:extLst>
          </p:cNvPr>
          <p:cNvSpPr>
            <a:spLocks noGrp="1"/>
          </p:cNvSpPr>
          <p:nvPr>
            <p:ph type="pic" sz="quarter" idx="10"/>
          </p:nvPr>
        </p:nvSpPr>
        <p:spPr>
          <a:xfrm>
            <a:off x="492590" y="1484190"/>
            <a:ext cx="3393577" cy="4266483"/>
          </a:xfrm>
          <a:prstGeom prst="roundRect">
            <a:avLst>
              <a:gd name="adj" fmla="val 6389"/>
            </a:avLst>
          </a:prstGeom>
          <a:pattFill prst="ltUpDiag">
            <a:fgClr>
              <a:schemeClr val="accent1"/>
            </a:fgClr>
            <a:bgClr>
              <a:schemeClr val="bg1"/>
            </a:bgClr>
          </a:pattFill>
          <a:effectLst>
            <a:outerShdw blurRad="571500" dist="952500" dir="5400000" sx="80000" sy="80000" algn="t" rotWithShape="0">
              <a:prstClr val="black">
                <a:alpha val="40000"/>
              </a:prstClr>
            </a:outerShdw>
          </a:effectLst>
        </p:spPr>
        <p:txBody>
          <a:bodyPr>
            <a:noAutofit/>
          </a:bodyPr>
          <a:lstStyle>
            <a:lvl1pPr>
              <a:defRPr sz="1000">
                <a:latin typeface="Arial" panose="020B0604020202020204" pitchFamily="34" charset="0"/>
                <a:cs typeface="Arial" panose="020B0604020202020204" pitchFamily="34" charset="0"/>
              </a:defRPr>
            </a:lvl1pPr>
          </a:lstStyle>
          <a:p>
            <a:endParaRPr lang="en-ID"/>
          </a:p>
        </p:txBody>
      </p:sp>
    </p:spTree>
    <p:extLst>
      <p:ext uri="{BB962C8B-B14F-4D97-AF65-F5344CB8AC3E}">
        <p14:creationId xmlns:p14="http://schemas.microsoft.com/office/powerpoint/2010/main" val="192333516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8_Title Slide">
    <p:spTree>
      <p:nvGrpSpPr>
        <p:cNvPr id="1" name=""/>
        <p:cNvGrpSpPr/>
        <p:nvPr/>
      </p:nvGrpSpPr>
      <p:grpSpPr>
        <a:xfrm>
          <a:off x="0" y="0"/>
          <a:ext cx="0" cy="0"/>
          <a:chOff x="0" y="0"/>
          <a:chExt cx="0" cy="0"/>
        </a:xfrm>
      </p:grpSpPr>
      <p:sp>
        <p:nvSpPr>
          <p:cNvPr id="7" name="Picture Placeholder 3">
            <a:extLst>
              <a:ext uri="{FF2B5EF4-FFF2-40B4-BE49-F238E27FC236}">
                <a16:creationId xmlns:a16="http://schemas.microsoft.com/office/drawing/2014/main" id="{93916511-0F3A-48A8-A02E-7CCD5EB3093A}"/>
              </a:ext>
            </a:extLst>
          </p:cNvPr>
          <p:cNvSpPr>
            <a:spLocks noGrp="1"/>
          </p:cNvSpPr>
          <p:nvPr>
            <p:ph type="pic" sz="quarter" idx="11"/>
          </p:nvPr>
        </p:nvSpPr>
        <p:spPr>
          <a:xfrm>
            <a:off x="457200" y="2990850"/>
            <a:ext cx="2181224" cy="1543049"/>
          </a:xfrm>
          <a:prstGeom prst="roundRect">
            <a:avLst>
              <a:gd name="adj" fmla="val 9432"/>
            </a:avLst>
          </a:prstGeom>
          <a:pattFill prst="ltUpDiag">
            <a:fgClr>
              <a:schemeClr val="accent1"/>
            </a:fgClr>
            <a:bgClr>
              <a:schemeClr val="bg1"/>
            </a:bgClr>
          </a:pattFill>
          <a:ln w="76200">
            <a:solidFill>
              <a:schemeClr val="bg1"/>
            </a:solidFill>
          </a:ln>
          <a:effectLst>
            <a:outerShdw blurRad="508000" dist="381000" dir="5400000" sx="85000" sy="85000" algn="t" rotWithShape="0">
              <a:prstClr val="black">
                <a:alpha val="20000"/>
              </a:prstClr>
            </a:outerShdw>
          </a:effectLst>
        </p:spPr>
        <p:txBody>
          <a:bodyPr>
            <a:noAutofit/>
          </a:bodyPr>
          <a:lstStyle>
            <a:lvl1pPr>
              <a:defRPr sz="1000">
                <a:latin typeface="Arial" panose="020B0604020202020204" pitchFamily="34" charset="0"/>
                <a:cs typeface="Arial" panose="020B0604020202020204" pitchFamily="34" charset="0"/>
              </a:defRPr>
            </a:lvl1pPr>
          </a:lstStyle>
          <a:p>
            <a:endParaRPr lang="en-ID"/>
          </a:p>
        </p:txBody>
      </p:sp>
      <p:sp>
        <p:nvSpPr>
          <p:cNvPr id="9" name="Picture Placeholder 3">
            <a:extLst>
              <a:ext uri="{FF2B5EF4-FFF2-40B4-BE49-F238E27FC236}">
                <a16:creationId xmlns:a16="http://schemas.microsoft.com/office/drawing/2014/main" id="{1242F092-FE51-456F-9E6C-E1286CC3300B}"/>
              </a:ext>
            </a:extLst>
          </p:cNvPr>
          <p:cNvSpPr>
            <a:spLocks noGrp="1"/>
          </p:cNvSpPr>
          <p:nvPr>
            <p:ph type="pic" sz="quarter" idx="12"/>
          </p:nvPr>
        </p:nvSpPr>
        <p:spPr>
          <a:xfrm>
            <a:off x="3276600" y="2990850"/>
            <a:ext cx="2181224" cy="1543049"/>
          </a:xfrm>
          <a:prstGeom prst="roundRect">
            <a:avLst>
              <a:gd name="adj" fmla="val 9432"/>
            </a:avLst>
          </a:prstGeom>
          <a:pattFill prst="ltUpDiag">
            <a:fgClr>
              <a:schemeClr val="accent1"/>
            </a:fgClr>
            <a:bgClr>
              <a:schemeClr val="bg1"/>
            </a:bgClr>
          </a:pattFill>
          <a:ln w="76200">
            <a:solidFill>
              <a:schemeClr val="bg1"/>
            </a:solidFill>
          </a:ln>
          <a:effectLst>
            <a:outerShdw blurRad="508000" dist="381000" dir="5400000" sx="85000" sy="85000" algn="t" rotWithShape="0">
              <a:prstClr val="black">
                <a:alpha val="20000"/>
              </a:prstClr>
            </a:outerShdw>
          </a:effectLst>
        </p:spPr>
        <p:txBody>
          <a:bodyPr>
            <a:noAutofit/>
          </a:bodyPr>
          <a:lstStyle>
            <a:lvl1pPr>
              <a:defRPr sz="1000">
                <a:latin typeface="Arial" panose="020B0604020202020204" pitchFamily="34" charset="0"/>
                <a:cs typeface="Arial" panose="020B0604020202020204" pitchFamily="34" charset="0"/>
              </a:defRPr>
            </a:lvl1pPr>
          </a:lstStyle>
          <a:p>
            <a:endParaRPr lang="en-ID"/>
          </a:p>
        </p:txBody>
      </p:sp>
      <p:sp>
        <p:nvSpPr>
          <p:cNvPr id="12" name="Picture Placeholder 3">
            <a:extLst>
              <a:ext uri="{FF2B5EF4-FFF2-40B4-BE49-F238E27FC236}">
                <a16:creationId xmlns:a16="http://schemas.microsoft.com/office/drawing/2014/main" id="{624CD09F-64CC-4C2E-BF83-15CAD5B9581A}"/>
              </a:ext>
            </a:extLst>
          </p:cNvPr>
          <p:cNvSpPr>
            <a:spLocks noGrp="1"/>
          </p:cNvSpPr>
          <p:nvPr>
            <p:ph type="pic" sz="quarter" idx="13"/>
          </p:nvPr>
        </p:nvSpPr>
        <p:spPr>
          <a:xfrm>
            <a:off x="6134100" y="2990850"/>
            <a:ext cx="2181224" cy="1543049"/>
          </a:xfrm>
          <a:prstGeom prst="roundRect">
            <a:avLst>
              <a:gd name="adj" fmla="val 9432"/>
            </a:avLst>
          </a:prstGeom>
          <a:pattFill prst="ltUpDiag">
            <a:fgClr>
              <a:schemeClr val="accent1"/>
            </a:fgClr>
            <a:bgClr>
              <a:schemeClr val="bg1"/>
            </a:bgClr>
          </a:pattFill>
          <a:ln w="76200">
            <a:solidFill>
              <a:schemeClr val="bg1"/>
            </a:solidFill>
          </a:ln>
          <a:effectLst>
            <a:outerShdw blurRad="508000" dist="381000" dir="5400000" sx="85000" sy="85000" algn="t" rotWithShape="0">
              <a:prstClr val="black">
                <a:alpha val="20000"/>
              </a:prstClr>
            </a:outerShdw>
          </a:effectLst>
        </p:spPr>
        <p:txBody>
          <a:bodyPr>
            <a:noAutofit/>
          </a:bodyPr>
          <a:lstStyle>
            <a:lvl1pPr>
              <a:defRPr sz="1000">
                <a:latin typeface="Arial" panose="020B0604020202020204" pitchFamily="34" charset="0"/>
                <a:cs typeface="Arial" panose="020B0604020202020204" pitchFamily="34" charset="0"/>
              </a:defRPr>
            </a:lvl1pPr>
          </a:lstStyle>
          <a:p>
            <a:endParaRPr lang="en-ID"/>
          </a:p>
        </p:txBody>
      </p:sp>
      <p:sp>
        <p:nvSpPr>
          <p:cNvPr id="13" name="Picture Placeholder 3">
            <a:extLst>
              <a:ext uri="{FF2B5EF4-FFF2-40B4-BE49-F238E27FC236}">
                <a16:creationId xmlns:a16="http://schemas.microsoft.com/office/drawing/2014/main" id="{A3BD081D-01B5-4106-AB6C-B1CE83A21AE3}"/>
              </a:ext>
            </a:extLst>
          </p:cNvPr>
          <p:cNvSpPr>
            <a:spLocks noGrp="1"/>
          </p:cNvSpPr>
          <p:nvPr>
            <p:ph type="pic" sz="quarter" idx="14"/>
          </p:nvPr>
        </p:nvSpPr>
        <p:spPr>
          <a:xfrm>
            <a:off x="8963025" y="2990850"/>
            <a:ext cx="2181224" cy="1543049"/>
          </a:xfrm>
          <a:prstGeom prst="roundRect">
            <a:avLst>
              <a:gd name="adj" fmla="val 9432"/>
            </a:avLst>
          </a:prstGeom>
          <a:pattFill prst="ltUpDiag">
            <a:fgClr>
              <a:schemeClr val="accent1"/>
            </a:fgClr>
            <a:bgClr>
              <a:schemeClr val="bg1"/>
            </a:bgClr>
          </a:pattFill>
          <a:ln w="76200">
            <a:solidFill>
              <a:schemeClr val="bg1"/>
            </a:solidFill>
          </a:ln>
          <a:effectLst>
            <a:outerShdw blurRad="508000" dist="381000" dir="5400000" sx="85000" sy="85000" algn="t" rotWithShape="0">
              <a:prstClr val="black">
                <a:alpha val="20000"/>
              </a:prstClr>
            </a:outerShdw>
          </a:effectLst>
        </p:spPr>
        <p:txBody>
          <a:bodyPr>
            <a:noAutofit/>
          </a:bodyPr>
          <a:lstStyle>
            <a:lvl1pPr>
              <a:defRPr sz="1000">
                <a:latin typeface="Arial" panose="020B0604020202020204" pitchFamily="34" charset="0"/>
                <a:cs typeface="Arial" panose="020B0604020202020204" pitchFamily="34" charset="0"/>
              </a:defRPr>
            </a:lvl1pPr>
          </a:lstStyle>
          <a:p>
            <a:endParaRPr lang="en-ID"/>
          </a:p>
        </p:txBody>
      </p:sp>
    </p:spTree>
    <p:extLst>
      <p:ext uri="{BB962C8B-B14F-4D97-AF65-F5344CB8AC3E}">
        <p14:creationId xmlns:p14="http://schemas.microsoft.com/office/powerpoint/2010/main" val="290882248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9_Title Slide">
    <p:spTree>
      <p:nvGrpSpPr>
        <p:cNvPr id="1" name=""/>
        <p:cNvGrpSpPr/>
        <p:nvPr/>
      </p:nvGrpSpPr>
      <p:grpSpPr>
        <a:xfrm>
          <a:off x="0" y="0"/>
          <a:ext cx="0" cy="0"/>
          <a:chOff x="0" y="0"/>
          <a:chExt cx="0" cy="0"/>
        </a:xfrm>
      </p:grpSpPr>
      <p:sp>
        <p:nvSpPr>
          <p:cNvPr id="4" name="Rectangle 6">
            <a:extLst>
              <a:ext uri="{FF2B5EF4-FFF2-40B4-BE49-F238E27FC236}">
                <a16:creationId xmlns:a16="http://schemas.microsoft.com/office/drawing/2014/main" id="{C67F8BBC-9FE6-408C-AB40-199398FE6579}"/>
              </a:ext>
            </a:extLst>
          </p:cNvPr>
          <p:cNvSpPr/>
          <p:nvPr userDrawn="1"/>
        </p:nvSpPr>
        <p:spPr>
          <a:xfrm>
            <a:off x="0" y="-9525"/>
            <a:ext cx="8155797" cy="6867524"/>
          </a:xfrm>
          <a:custGeom>
            <a:avLst/>
            <a:gdLst>
              <a:gd name="connsiteX0" fmla="*/ 0 w 12191999"/>
              <a:gd name="connsiteY0" fmla="*/ 0 h 6857999"/>
              <a:gd name="connsiteX1" fmla="*/ 12191999 w 12191999"/>
              <a:gd name="connsiteY1" fmla="*/ 0 h 6857999"/>
              <a:gd name="connsiteX2" fmla="*/ 12191999 w 12191999"/>
              <a:gd name="connsiteY2" fmla="*/ 6857999 h 6857999"/>
              <a:gd name="connsiteX3" fmla="*/ 0 w 12191999"/>
              <a:gd name="connsiteY3" fmla="*/ 6857999 h 6857999"/>
              <a:gd name="connsiteX4" fmla="*/ 0 w 12191999"/>
              <a:gd name="connsiteY4" fmla="*/ 0 h 6857999"/>
              <a:gd name="connsiteX0" fmla="*/ 0 w 12191999"/>
              <a:gd name="connsiteY0" fmla="*/ 0 h 6857999"/>
              <a:gd name="connsiteX1" fmla="*/ 12191999 w 12191999"/>
              <a:gd name="connsiteY1" fmla="*/ 0 h 6857999"/>
              <a:gd name="connsiteX2" fmla="*/ 9886949 w 12191999"/>
              <a:gd name="connsiteY2" fmla="*/ 6848474 h 6857999"/>
              <a:gd name="connsiteX3" fmla="*/ 0 w 12191999"/>
              <a:gd name="connsiteY3" fmla="*/ 6857999 h 6857999"/>
              <a:gd name="connsiteX4" fmla="*/ 0 w 12191999"/>
              <a:gd name="connsiteY4" fmla="*/ 0 h 6857999"/>
              <a:gd name="connsiteX0" fmla="*/ 0 w 11306174"/>
              <a:gd name="connsiteY0" fmla="*/ 9525 h 6867524"/>
              <a:gd name="connsiteX1" fmla="*/ 11306174 w 11306174"/>
              <a:gd name="connsiteY1" fmla="*/ 0 h 6867524"/>
              <a:gd name="connsiteX2" fmla="*/ 9886949 w 11306174"/>
              <a:gd name="connsiteY2" fmla="*/ 6857999 h 6867524"/>
              <a:gd name="connsiteX3" fmla="*/ 0 w 11306174"/>
              <a:gd name="connsiteY3" fmla="*/ 6867524 h 6867524"/>
              <a:gd name="connsiteX4" fmla="*/ 0 w 11306174"/>
              <a:gd name="connsiteY4" fmla="*/ 9525 h 68675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06174" h="6867524">
                <a:moveTo>
                  <a:pt x="0" y="9525"/>
                </a:moveTo>
                <a:lnTo>
                  <a:pt x="11306174" y="0"/>
                </a:lnTo>
                <a:lnTo>
                  <a:pt x="9886949" y="6857999"/>
                </a:lnTo>
                <a:lnTo>
                  <a:pt x="0" y="6867524"/>
                </a:lnTo>
                <a:lnTo>
                  <a:pt x="0" y="9525"/>
                </a:lnTo>
                <a:close/>
              </a:path>
            </a:pathLst>
          </a:custGeom>
          <a:solidFill>
            <a:srgbClr val="FFCF0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p>
        </p:txBody>
      </p:sp>
      <p:grpSp>
        <p:nvGrpSpPr>
          <p:cNvPr id="5" name="Graphic 66">
            <a:extLst>
              <a:ext uri="{FF2B5EF4-FFF2-40B4-BE49-F238E27FC236}">
                <a16:creationId xmlns:a16="http://schemas.microsoft.com/office/drawing/2014/main" id="{ED5D7BC9-47B6-4D25-A88D-F839B9DC5315}"/>
              </a:ext>
            </a:extLst>
          </p:cNvPr>
          <p:cNvGrpSpPr/>
          <p:nvPr userDrawn="1"/>
        </p:nvGrpSpPr>
        <p:grpSpPr>
          <a:xfrm>
            <a:off x="4693847" y="-509066"/>
            <a:ext cx="7044840" cy="8253260"/>
            <a:chOff x="4240193" y="843710"/>
            <a:chExt cx="481660" cy="564281"/>
          </a:xfrm>
        </p:grpSpPr>
        <p:sp>
          <p:nvSpPr>
            <p:cNvPr id="6" name="Freeform: Shape 5">
              <a:extLst>
                <a:ext uri="{FF2B5EF4-FFF2-40B4-BE49-F238E27FC236}">
                  <a16:creationId xmlns:a16="http://schemas.microsoft.com/office/drawing/2014/main" id="{EE3B8CB0-0DAF-4986-89F1-872473DD5095}"/>
                </a:ext>
              </a:extLst>
            </p:cNvPr>
            <p:cNvSpPr/>
            <p:nvPr/>
          </p:nvSpPr>
          <p:spPr>
            <a:xfrm>
              <a:off x="4369611" y="973104"/>
              <a:ext cx="260765" cy="305489"/>
            </a:xfrm>
            <a:custGeom>
              <a:avLst/>
              <a:gdLst>
                <a:gd name="connsiteX0" fmla="*/ -158 w 260765"/>
                <a:gd name="connsiteY0" fmla="*/ 152668 h 305489"/>
                <a:gd name="connsiteX1" fmla="*/ 152588 w 260765"/>
                <a:gd name="connsiteY1" fmla="*/ 305421 h 305489"/>
                <a:gd name="connsiteX2" fmla="*/ 260607 w 260765"/>
                <a:gd name="connsiteY2" fmla="*/ 260672 h 305489"/>
                <a:gd name="connsiteX3" fmla="*/ 152603 w 260765"/>
                <a:gd name="connsiteY3" fmla="*/ 152653 h 305489"/>
                <a:gd name="connsiteX4" fmla="*/ 260592 w 260765"/>
                <a:gd name="connsiteY4" fmla="*/ 44665 h 305489"/>
                <a:gd name="connsiteX5" fmla="*/ 44569 w 260765"/>
                <a:gd name="connsiteY5" fmla="*/ 44673 h 305489"/>
                <a:gd name="connsiteX6" fmla="*/ -158 w 260765"/>
                <a:gd name="connsiteY6" fmla="*/ 152668 h 3054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0765" h="305489">
                  <a:moveTo>
                    <a:pt x="-158" y="152668"/>
                  </a:moveTo>
                  <a:cubicBezTo>
                    <a:pt x="-158" y="237028"/>
                    <a:pt x="68220" y="305418"/>
                    <a:pt x="152588" y="305421"/>
                  </a:cubicBezTo>
                  <a:cubicBezTo>
                    <a:pt x="193106" y="305423"/>
                    <a:pt x="231959" y="289326"/>
                    <a:pt x="260607" y="260672"/>
                  </a:cubicBezTo>
                  <a:lnTo>
                    <a:pt x="152603" y="152653"/>
                  </a:lnTo>
                  <a:lnTo>
                    <a:pt x="260592" y="44665"/>
                  </a:lnTo>
                  <a:cubicBezTo>
                    <a:pt x="200945" y="-14984"/>
                    <a:pt x="104231" y="-14981"/>
                    <a:pt x="44569" y="44673"/>
                  </a:cubicBezTo>
                  <a:cubicBezTo>
                    <a:pt x="15936" y="73316"/>
                    <a:pt x="-158" y="112162"/>
                    <a:pt x="-158" y="152668"/>
                  </a:cubicBezTo>
                  <a:close/>
                </a:path>
              </a:pathLst>
            </a:custGeom>
            <a:noFill/>
            <a:ln w="14868" cap="flat">
              <a:noFill/>
              <a:prstDash val="solid"/>
              <a:miter/>
            </a:ln>
          </p:spPr>
          <p:txBody>
            <a:bodyPr rtlCol="0" anchor="ctr"/>
            <a:lstStyle/>
            <a:p>
              <a:endParaRPr lang="en-ID"/>
            </a:p>
          </p:txBody>
        </p:sp>
        <p:sp>
          <p:nvSpPr>
            <p:cNvPr id="7" name="Freeform: Shape 6">
              <a:extLst>
                <a:ext uri="{FF2B5EF4-FFF2-40B4-BE49-F238E27FC236}">
                  <a16:creationId xmlns:a16="http://schemas.microsoft.com/office/drawing/2014/main" id="{BDBE94E7-B6B7-4BA7-80EF-DF589AB418C7}"/>
                </a:ext>
              </a:extLst>
            </p:cNvPr>
            <p:cNvSpPr/>
            <p:nvPr/>
          </p:nvSpPr>
          <p:spPr>
            <a:xfrm>
              <a:off x="4240193" y="843710"/>
              <a:ext cx="481660" cy="564281"/>
            </a:xfrm>
            <a:custGeom>
              <a:avLst/>
              <a:gdLst>
                <a:gd name="connsiteX0" fmla="*/ 282005 w 481660"/>
                <a:gd name="connsiteY0" fmla="*/ 434809 h 564281"/>
                <a:gd name="connsiteX1" fmla="*/ 129244 w 481660"/>
                <a:gd name="connsiteY1" fmla="*/ 282072 h 564281"/>
                <a:gd name="connsiteX2" fmla="*/ 281991 w 481660"/>
                <a:gd name="connsiteY2" fmla="*/ 129317 h 564281"/>
                <a:gd name="connsiteX3" fmla="*/ 390009 w 481660"/>
                <a:gd name="connsiteY3" fmla="*/ 174059 h 564281"/>
                <a:gd name="connsiteX4" fmla="*/ 481502 w 481660"/>
                <a:gd name="connsiteY4" fmla="*/ 82581 h 564281"/>
                <a:gd name="connsiteX5" fmla="*/ 82494 w 481660"/>
                <a:gd name="connsiteY5" fmla="*/ 82554 h 564281"/>
                <a:gd name="connsiteX6" fmla="*/ 82464 w 481660"/>
                <a:gd name="connsiteY6" fmla="*/ 481560 h 564281"/>
                <a:gd name="connsiteX7" fmla="*/ 481473 w 481660"/>
                <a:gd name="connsiteY7" fmla="*/ 481590 h 564281"/>
                <a:gd name="connsiteX8" fmla="*/ 481502 w 481660"/>
                <a:gd name="connsiteY8" fmla="*/ 481560 h 564281"/>
                <a:gd name="connsiteX9" fmla="*/ 390024 w 481660"/>
                <a:gd name="connsiteY9" fmla="*/ 390067 h 564281"/>
                <a:gd name="connsiteX10" fmla="*/ 282005 w 481660"/>
                <a:gd name="connsiteY10" fmla="*/ 434809 h 5642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81660" h="564281">
                  <a:moveTo>
                    <a:pt x="282005" y="434809"/>
                  </a:moveTo>
                  <a:cubicBezTo>
                    <a:pt x="197652" y="434814"/>
                    <a:pt x="129259" y="366431"/>
                    <a:pt x="129244" y="282072"/>
                  </a:cubicBezTo>
                  <a:cubicBezTo>
                    <a:pt x="129244" y="197713"/>
                    <a:pt x="197623" y="129321"/>
                    <a:pt x="281991" y="129317"/>
                  </a:cubicBezTo>
                  <a:cubicBezTo>
                    <a:pt x="322509" y="129315"/>
                    <a:pt x="361361" y="145410"/>
                    <a:pt x="390009" y="174059"/>
                  </a:cubicBezTo>
                  <a:lnTo>
                    <a:pt x="481502" y="82581"/>
                  </a:lnTo>
                  <a:cubicBezTo>
                    <a:pt x="371327" y="-27609"/>
                    <a:pt x="192684" y="-27621"/>
                    <a:pt x="82494" y="82554"/>
                  </a:cubicBezTo>
                  <a:cubicBezTo>
                    <a:pt x="-27697" y="192730"/>
                    <a:pt x="-27711" y="371370"/>
                    <a:pt x="82464" y="481560"/>
                  </a:cubicBezTo>
                  <a:cubicBezTo>
                    <a:pt x="192639" y="591750"/>
                    <a:pt x="371282" y="591765"/>
                    <a:pt x="481473" y="481590"/>
                  </a:cubicBezTo>
                  <a:cubicBezTo>
                    <a:pt x="481488" y="481575"/>
                    <a:pt x="481488" y="481575"/>
                    <a:pt x="481502" y="481560"/>
                  </a:cubicBezTo>
                  <a:lnTo>
                    <a:pt x="390024" y="390067"/>
                  </a:lnTo>
                  <a:cubicBezTo>
                    <a:pt x="361406" y="418764"/>
                    <a:pt x="322539" y="434867"/>
                    <a:pt x="282005" y="434809"/>
                  </a:cubicBezTo>
                  <a:close/>
                </a:path>
              </a:pathLst>
            </a:custGeom>
            <a:solidFill>
              <a:schemeClr val="tx1">
                <a:lumMod val="95000"/>
                <a:lumOff val="5000"/>
                <a:alpha val="5000"/>
              </a:schemeClr>
            </a:solidFill>
            <a:ln w="14868" cap="flat">
              <a:noFill/>
              <a:prstDash val="solid"/>
              <a:miter/>
            </a:ln>
          </p:spPr>
          <p:txBody>
            <a:bodyPr rtlCol="0" anchor="ctr"/>
            <a:lstStyle/>
            <a:p>
              <a:endParaRPr lang="en-ID"/>
            </a:p>
          </p:txBody>
        </p:sp>
        <p:sp>
          <p:nvSpPr>
            <p:cNvPr id="8" name="Freeform: Shape 7">
              <a:extLst>
                <a:ext uri="{FF2B5EF4-FFF2-40B4-BE49-F238E27FC236}">
                  <a16:creationId xmlns:a16="http://schemas.microsoft.com/office/drawing/2014/main" id="{BD429AB2-5090-4720-967B-9C8793C50557}"/>
                </a:ext>
              </a:extLst>
            </p:cNvPr>
            <p:cNvSpPr/>
            <p:nvPr/>
          </p:nvSpPr>
          <p:spPr>
            <a:xfrm>
              <a:off x="4522387" y="1017838"/>
              <a:ext cx="152724" cy="216007"/>
            </a:xfrm>
            <a:custGeom>
              <a:avLst/>
              <a:gdLst>
                <a:gd name="connsiteX0" fmla="*/ 107831 w 152724"/>
                <a:gd name="connsiteY0" fmla="*/ 215938 h 216007"/>
                <a:gd name="connsiteX1" fmla="*/ 107831 w 152724"/>
                <a:gd name="connsiteY1" fmla="*/ -69 h 216007"/>
                <a:gd name="connsiteX2" fmla="*/ -158 w 152724"/>
                <a:gd name="connsiteY2" fmla="*/ 107919 h 216007"/>
              </a:gdLst>
              <a:ahLst/>
              <a:cxnLst>
                <a:cxn ang="0">
                  <a:pos x="connsiteX0" y="connsiteY0"/>
                </a:cxn>
                <a:cxn ang="0">
                  <a:pos x="connsiteX1" y="connsiteY1"/>
                </a:cxn>
                <a:cxn ang="0">
                  <a:pos x="connsiteX2" y="connsiteY2"/>
                </a:cxn>
              </a:cxnLst>
              <a:rect l="l" t="t" r="r" b="b"/>
              <a:pathLst>
                <a:path w="152724" h="216007">
                  <a:moveTo>
                    <a:pt x="107831" y="215938"/>
                  </a:moveTo>
                  <a:cubicBezTo>
                    <a:pt x="167477" y="156288"/>
                    <a:pt x="167477" y="59580"/>
                    <a:pt x="107831" y="-69"/>
                  </a:cubicBezTo>
                  <a:lnTo>
                    <a:pt x="-158" y="107919"/>
                  </a:lnTo>
                  <a:close/>
                </a:path>
              </a:pathLst>
            </a:custGeom>
            <a:solidFill>
              <a:srgbClr val="FFCF01">
                <a:alpha val="10000"/>
              </a:srgbClr>
            </a:solidFill>
            <a:ln w="14868" cap="flat">
              <a:noFill/>
              <a:prstDash val="solid"/>
              <a:miter/>
            </a:ln>
          </p:spPr>
          <p:txBody>
            <a:bodyPr rtlCol="0" anchor="ctr"/>
            <a:lstStyle/>
            <a:p>
              <a:endParaRPr lang="en-ID"/>
            </a:p>
          </p:txBody>
        </p:sp>
      </p:grpSp>
      <p:sp>
        <p:nvSpPr>
          <p:cNvPr id="9" name="Rectangle: Rounded Corners 8">
            <a:extLst>
              <a:ext uri="{FF2B5EF4-FFF2-40B4-BE49-F238E27FC236}">
                <a16:creationId xmlns:a16="http://schemas.microsoft.com/office/drawing/2014/main" id="{5269DC38-4122-4F4A-A00A-7D62C3DDDCA6}"/>
              </a:ext>
            </a:extLst>
          </p:cNvPr>
          <p:cNvSpPr/>
          <p:nvPr userDrawn="1"/>
        </p:nvSpPr>
        <p:spPr>
          <a:xfrm>
            <a:off x="6597555" y="2381250"/>
            <a:ext cx="2353398" cy="2781300"/>
          </a:xfrm>
          <a:prstGeom prst="roundRect">
            <a:avLst>
              <a:gd name="adj" fmla="val 7453"/>
            </a:avLst>
          </a:prstGeom>
          <a:solidFill>
            <a:srgbClr val="FFCF01">
              <a:alpha val="90000"/>
            </a:srgbClr>
          </a:solidFill>
          <a:ln>
            <a:noFill/>
          </a:ln>
          <a:effectLst>
            <a:outerShdw blurRad="444500" dist="317500" dir="5400000" sx="95000" sy="95000" algn="t" rotWithShape="0">
              <a:srgbClr val="FBB505">
                <a:alpha val="45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dirty="0"/>
          </a:p>
        </p:txBody>
      </p:sp>
      <p:sp>
        <p:nvSpPr>
          <p:cNvPr id="10" name="Rectangle: Rounded Corners 9">
            <a:extLst>
              <a:ext uri="{FF2B5EF4-FFF2-40B4-BE49-F238E27FC236}">
                <a16:creationId xmlns:a16="http://schemas.microsoft.com/office/drawing/2014/main" id="{6395EB0C-7E73-463D-A66B-E80A41F91753}"/>
              </a:ext>
            </a:extLst>
          </p:cNvPr>
          <p:cNvSpPr/>
          <p:nvPr userDrawn="1"/>
        </p:nvSpPr>
        <p:spPr>
          <a:xfrm>
            <a:off x="9492366" y="2381250"/>
            <a:ext cx="2353398" cy="2781300"/>
          </a:xfrm>
          <a:prstGeom prst="roundRect">
            <a:avLst>
              <a:gd name="adj" fmla="val 7453"/>
            </a:avLst>
          </a:prstGeom>
          <a:solidFill>
            <a:srgbClr val="FFCF01">
              <a:alpha val="90000"/>
            </a:srgbClr>
          </a:solidFill>
          <a:ln>
            <a:noFill/>
          </a:ln>
          <a:effectLst>
            <a:outerShdw blurRad="444500" dist="317500" dir="5400000" sx="95000" sy="95000" algn="t" rotWithShape="0">
              <a:srgbClr val="FBB505">
                <a:alpha val="45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dirty="0"/>
          </a:p>
        </p:txBody>
      </p:sp>
      <p:sp>
        <p:nvSpPr>
          <p:cNvPr id="11" name="Freeform: Shape 10">
            <a:extLst>
              <a:ext uri="{FF2B5EF4-FFF2-40B4-BE49-F238E27FC236}">
                <a16:creationId xmlns:a16="http://schemas.microsoft.com/office/drawing/2014/main" id="{887CC3A3-E141-405B-B213-6539138E01C7}"/>
              </a:ext>
            </a:extLst>
          </p:cNvPr>
          <p:cNvSpPr/>
          <p:nvPr userDrawn="1"/>
        </p:nvSpPr>
        <p:spPr>
          <a:xfrm>
            <a:off x="10478544" y="5007868"/>
            <a:ext cx="782751" cy="814534"/>
          </a:xfrm>
          <a:custGeom>
            <a:avLst/>
            <a:gdLst>
              <a:gd name="connsiteX0" fmla="*/ 1550109 w 1576226"/>
              <a:gd name="connsiteY0" fmla="*/ 1588006 h 1640228"/>
              <a:gd name="connsiteX1" fmla="*/ 1576220 w 1576226"/>
              <a:gd name="connsiteY1" fmla="*/ 1614117 h 1640228"/>
              <a:gd name="connsiteX2" fmla="*/ 1550109 w 1576226"/>
              <a:gd name="connsiteY2" fmla="*/ 1640228 h 1640228"/>
              <a:gd name="connsiteX3" fmla="*/ 1523998 w 1576226"/>
              <a:gd name="connsiteY3" fmla="*/ 1614117 h 1640228"/>
              <a:gd name="connsiteX4" fmla="*/ 1550109 w 1576226"/>
              <a:gd name="connsiteY4" fmla="*/ 1588006 h 1640228"/>
              <a:gd name="connsiteX5" fmla="*/ 1332395 w 1576226"/>
              <a:gd name="connsiteY5" fmla="*/ 1588006 h 1640228"/>
              <a:gd name="connsiteX6" fmla="*/ 1358506 w 1576226"/>
              <a:gd name="connsiteY6" fmla="*/ 1614117 h 1640228"/>
              <a:gd name="connsiteX7" fmla="*/ 1332395 w 1576226"/>
              <a:gd name="connsiteY7" fmla="*/ 1640228 h 1640228"/>
              <a:gd name="connsiteX8" fmla="*/ 1306284 w 1576226"/>
              <a:gd name="connsiteY8" fmla="*/ 1614117 h 1640228"/>
              <a:gd name="connsiteX9" fmla="*/ 1332395 w 1576226"/>
              <a:gd name="connsiteY9" fmla="*/ 1588006 h 1640228"/>
              <a:gd name="connsiteX10" fmla="*/ 1114682 w 1576226"/>
              <a:gd name="connsiteY10" fmla="*/ 1588006 h 1640228"/>
              <a:gd name="connsiteX11" fmla="*/ 1140793 w 1576226"/>
              <a:gd name="connsiteY11" fmla="*/ 1614117 h 1640228"/>
              <a:gd name="connsiteX12" fmla="*/ 1114682 w 1576226"/>
              <a:gd name="connsiteY12" fmla="*/ 1640228 h 1640228"/>
              <a:gd name="connsiteX13" fmla="*/ 1088571 w 1576226"/>
              <a:gd name="connsiteY13" fmla="*/ 1614117 h 1640228"/>
              <a:gd name="connsiteX14" fmla="*/ 1114682 w 1576226"/>
              <a:gd name="connsiteY14" fmla="*/ 1588006 h 1640228"/>
              <a:gd name="connsiteX15" fmla="*/ 896968 w 1576226"/>
              <a:gd name="connsiteY15" fmla="*/ 1588006 h 1640228"/>
              <a:gd name="connsiteX16" fmla="*/ 923079 w 1576226"/>
              <a:gd name="connsiteY16" fmla="*/ 1614117 h 1640228"/>
              <a:gd name="connsiteX17" fmla="*/ 896968 w 1576226"/>
              <a:gd name="connsiteY17" fmla="*/ 1640228 h 1640228"/>
              <a:gd name="connsiteX18" fmla="*/ 870857 w 1576226"/>
              <a:gd name="connsiteY18" fmla="*/ 1614117 h 1640228"/>
              <a:gd name="connsiteX19" fmla="*/ 896968 w 1576226"/>
              <a:gd name="connsiteY19" fmla="*/ 1588006 h 1640228"/>
              <a:gd name="connsiteX20" fmla="*/ 679253 w 1576226"/>
              <a:gd name="connsiteY20" fmla="*/ 1588006 h 1640228"/>
              <a:gd name="connsiteX21" fmla="*/ 705364 w 1576226"/>
              <a:gd name="connsiteY21" fmla="*/ 1614117 h 1640228"/>
              <a:gd name="connsiteX22" fmla="*/ 679253 w 1576226"/>
              <a:gd name="connsiteY22" fmla="*/ 1640228 h 1640228"/>
              <a:gd name="connsiteX23" fmla="*/ 653142 w 1576226"/>
              <a:gd name="connsiteY23" fmla="*/ 1614117 h 1640228"/>
              <a:gd name="connsiteX24" fmla="*/ 679253 w 1576226"/>
              <a:gd name="connsiteY24" fmla="*/ 1588006 h 1640228"/>
              <a:gd name="connsiteX25" fmla="*/ 461539 w 1576226"/>
              <a:gd name="connsiteY25" fmla="*/ 1588006 h 1640228"/>
              <a:gd name="connsiteX26" fmla="*/ 487650 w 1576226"/>
              <a:gd name="connsiteY26" fmla="*/ 1614117 h 1640228"/>
              <a:gd name="connsiteX27" fmla="*/ 461539 w 1576226"/>
              <a:gd name="connsiteY27" fmla="*/ 1640228 h 1640228"/>
              <a:gd name="connsiteX28" fmla="*/ 435428 w 1576226"/>
              <a:gd name="connsiteY28" fmla="*/ 1614117 h 1640228"/>
              <a:gd name="connsiteX29" fmla="*/ 461539 w 1576226"/>
              <a:gd name="connsiteY29" fmla="*/ 1588006 h 1640228"/>
              <a:gd name="connsiteX30" fmla="*/ 243825 w 1576226"/>
              <a:gd name="connsiteY30" fmla="*/ 1588006 h 1640228"/>
              <a:gd name="connsiteX31" fmla="*/ 269936 w 1576226"/>
              <a:gd name="connsiteY31" fmla="*/ 1614117 h 1640228"/>
              <a:gd name="connsiteX32" fmla="*/ 243825 w 1576226"/>
              <a:gd name="connsiteY32" fmla="*/ 1640228 h 1640228"/>
              <a:gd name="connsiteX33" fmla="*/ 217714 w 1576226"/>
              <a:gd name="connsiteY33" fmla="*/ 1614117 h 1640228"/>
              <a:gd name="connsiteX34" fmla="*/ 243825 w 1576226"/>
              <a:gd name="connsiteY34" fmla="*/ 1588006 h 1640228"/>
              <a:gd name="connsiteX35" fmla="*/ 26111 w 1576226"/>
              <a:gd name="connsiteY35" fmla="*/ 1588006 h 1640228"/>
              <a:gd name="connsiteX36" fmla="*/ 52222 w 1576226"/>
              <a:gd name="connsiteY36" fmla="*/ 1614117 h 1640228"/>
              <a:gd name="connsiteX37" fmla="*/ 26111 w 1576226"/>
              <a:gd name="connsiteY37" fmla="*/ 1640228 h 1640228"/>
              <a:gd name="connsiteX38" fmla="*/ 0 w 1576226"/>
              <a:gd name="connsiteY38" fmla="*/ 1614117 h 1640228"/>
              <a:gd name="connsiteX39" fmla="*/ 26111 w 1576226"/>
              <a:gd name="connsiteY39" fmla="*/ 1588006 h 1640228"/>
              <a:gd name="connsiteX40" fmla="*/ 1550110 w 1576226"/>
              <a:gd name="connsiteY40" fmla="*/ 1361148 h 1640228"/>
              <a:gd name="connsiteX41" fmla="*/ 1576221 w 1576226"/>
              <a:gd name="connsiteY41" fmla="*/ 1387259 h 1640228"/>
              <a:gd name="connsiteX42" fmla="*/ 1550110 w 1576226"/>
              <a:gd name="connsiteY42" fmla="*/ 1413370 h 1640228"/>
              <a:gd name="connsiteX43" fmla="*/ 1523999 w 1576226"/>
              <a:gd name="connsiteY43" fmla="*/ 1387259 h 1640228"/>
              <a:gd name="connsiteX44" fmla="*/ 1550110 w 1576226"/>
              <a:gd name="connsiteY44" fmla="*/ 1361148 h 1640228"/>
              <a:gd name="connsiteX45" fmla="*/ 1332396 w 1576226"/>
              <a:gd name="connsiteY45" fmla="*/ 1361148 h 1640228"/>
              <a:gd name="connsiteX46" fmla="*/ 1358507 w 1576226"/>
              <a:gd name="connsiteY46" fmla="*/ 1387259 h 1640228"/>
              <a:gd name="connsiteX47" fmla="*/ 1332396 w 1576226"/>
              <a:gd name="connsiteY47" fmla="*/ 1413370 h 1640228"/>
              <a:gd name="connsiteX48" fmla="*/ 1306285 w 1576226"/>
              <a:gd name="connsiteY48" fmla="*/ 1387259 h 1640228"/>
              <a:gd name="connsiteX49" fmla="*/ 1332396 w 1576226"/>
              <a:gd name="connsiteY49" fmla="*/ 1361148 h 1640228"/>
              <a:gd name="connsiteX50" fmla="*/ 1114683 w 1576226"/>
              <a:gd name="connsiteY50" fmla="*/ 1361148 h 1640228"/>
              <a:gd name="connsiteX51" fmla="*/ 1140794 w 1576226"/>
              <a:gd name="connsiteY51" fmla="*/ 1387259 h 1640228"/>
              <a:gd name="connsiteX52" fmla="*/ 1114683 w 1576226"/>
              <a:gd name="connsiteY52" fmla="*/ 1413370 h 1640228"/>
              <a:gd name="connsiteX53" fmla="*/ 1088572 w 1576226"/>
              <a:gd name="connsiteY53" fmla="*/ 1387259 h 1640228"/>
              <a:gd name="connsiteX54" fmla="*/ 1114683 w 1576226"/>
              <a:gd name="connsiteY54" fmla="*/ 1361148 h 1640228"/>
              <a:gd name="connsiteX55" fmla="*/ 896969 w 1576226"/>
              <a:gd name="connsiteY55" fmla="*/ 1361148 h 1640228"/>
              <a:gd name="connsiteX56" fmla="*/ 923080 w 1576226"/>
              <a:gd name="connsiteY56" fmla="*/ 1387259 h 1640228"/>
              <a:gd name="connsiteX57" fmla="*/ 896969 w 1576226"/>
              <a:gd name="connsiteY57" fmla="*/ 1413370 h 1640228"/>
              <a:gd name="connsiteX58" fmla="*/ 870858 w 1576226"/>
              <a:gd name="connsiteY58" fmla="*/ 1387259 h 1640228"/>
              <a:gd name="connsiteX59" fmla="*/ 896969 w 1576226"/>
              <a:gd name="connsiteY59" fmla="*/ 1361148 h 1640228"/>
              <a:gd name="connsiteX60" fmla="*/ 679254 w 1576226"/>
              <a:gd name="connsiteY60" fmla="*/ 1361148 h 1640228"/>
              <a:gd name="connsiteX61" fmla="*/ 705365 w 1576226"/>
              <a:gd name="connsiteY61" fmla="*/ 1387259 h 1640228"/>
              <a:gd name="connsiteX62" fmla="*/ 679254 w 1576226"/>
              <a:gd name="connsiteY62" fmla="*/ 1413370 h 1640228"/>
              <a:gd name="connsiteX63" fmla="*/ 653143 w 1576226"/>
              <a:gd name="connsiteY63" fmla="*/ 1387259 h 1640228"/>
              <a:gd name="connsiteX64" fmla="*/ 679254 w 1576226"/>
              <a:gd name="connsiteY64" fmla="*/ 1361148 h 1640228"/>
              <a:gd name="connsiteX65" fmla="*/ 461540 w 1576226"/>
              <a:gd name="connsiteY65" fmla="*/ 1361148 h 1640228"/>
              <a:gd name="connsiteX66" fmla="*/ 487651 w 1576226"/>
              <a:gd name="connsiteY66" fmla="*/ 1387259 h 1640228"/>
              <a:gd name="connsiteX67" fmla="*/ 461540 w 1576226"/>
              <a:gd name="connsiteY67" fmla="*/ 1413370 h 1640228"/>
              <a:gd name="connsiteX68" fmla="*/ 435429 w 1576226"/>
              <a:gd name="connsiteY68" fmla="*/ 1387259 h 1640228"/>
              <a:gd name="connsiteX69" fmla="*/ 461540 w 1576226"/>
              <a:gd name="connsiteY69" fmla="*/ 1361148 h 1640228"/>
              <a:gd name="connsiteX70" fmla="*/ 243826 w 1576226"/>
              <a:gd name="connsiteY70" fmla="*/ 1361148 h 1640228"/>
              <a:gd name="connsiteX71" fmla="*/ 269937 w 1576226"/>
              <a:gd name="connsiteY71" fmla="*/ 1387259 h 1640228"/>
              <a:gd name="connsiteX72" fmla="*/ 243826 w 1576226"/>
              <a:gd name="connsiteY72" fmla="*/ 1413370 h 1640228"/>
              <a:gd name="connsiteX73" fmla="*/ 217715 w 1576226"/>
              <a:gd name="connsiteY73" fmla="*/ 1387259 h 1640228"/>
              <a:gd name="connsiteX74" fmla="*/ 243826 w 1576226"/>
              <a:gd name="connsiteY74" fmla="*/ 1361148 h 1640228"/>
              <a:gd name="connsiteX75" fmla="*/ 26112 w 1576226"/>
              <a:gd name="connsiteY75" fmla="*/ 1361148 h 1640228"/>
              <a:gd name="connsiteX76" fmla="*/ 52223 w 1576226"/>
              <a:gd name="connsiteY76" fmla="*/ 1387259 h 1640228"/>
              <a:gd name="connsiteX77" fmla="*/ 26112 w 1576226"/>
              <a:gd name="connsiteY77" fmla="*/ 1413370 h 1640228"/>
              <a:gd name="connsiteX78" fmla="*/ 1 w 1576226"/>
              <a:gd name="connsiteY78" fmla="*/ 1387259 h 1640228"/>
              <a:gd name="connsiteX79" fmla="*/ 26112 w 1576226"/>
              <a:gd name="connsiteY79" fmla="*/ 1361148 h 1640228"/>
              <a:gd name="connsiteX80" fmla="*/ 1550111 w 1576226"/>
              <a:gd name="connsiteY80" fmla="*/ 1134290 h 1640228"/>
              <a:gd name="connsiteX81" fmla="*/ 1576222 w 1576226"/>
              <a:gd name="connsiteY81" fmla="*/ 1160401 h 1640228"/>
              <a:gd name="connsiteX82" fmla="*/ 1550111 w 1576226"/>
              <a:gd name="connsiteY82" fmla="*/ 1186512 h 1640228"/>
              <a:gd name="connsiteX83" fmla="*/ 1524000 w 1576226"/>
              <a:gd name="connsiteY83" fmla="*/ 1160401 h 1640228"/>
              <a:gd name="connsiteX84" fmla="*/ 1550111 w 1576226"/>
              <a:gd name="connsiteY84" fmla="*/ 1134290 h 1640228"/>
              <a:gd name="connsiteX85" fmla="*/ 1332397 w 1576226"/>
              <a:gd name="connsiteY85" fmla="*/ 1134290 h 1640228"/>
              <a:gd name="connsiteX86" fmla="*/ 1358508 w 1576226"/>
              <a:gd name="connsiteY86" fmla="*/ 1160401 h 1640228"/>
              <a:gd name="connsiteX87" fmla="*/ 1332397 w 1576226"/>
              <a:gd name="connsiteY87" fmla="*/ 1186512 h 1640228"/>
              <a:gd name="connsiteX88" fmla="*/ 1306286 w 1576226"/>
              <a:gd name="connsiteY88" fmla="*/ 1160401 h 1640228"/>
              <a:gd name="connsiteX89" fmla="*/ 1332397 w 1576226"/>
              <a:gd name="connsiteY89" fmla="*/ 1134290 h 1640228"/>
              <a:gd name="connsiteX90" fmla="*/ 1114684 w 1576226"/>
              <a:gd name="connsiteY90" fmla="*/ 1134290 h 1640228"/>
              <a:gd name="connsiteX91" fmla="*/ 1140795 w 1576226"/>
              <a:gd name="connsiteY91" fmla="*/ 1160401 h 1640228"/>
              <a:gd name="connsiteX92" fmla="*/ 1114684 w 1576226"/>
              <a:gd name="connsiteY92" fmla="*/ 1186512 h 1640228"/>
              <a:gd name="connsiteX93" fmla="*/ 1088573 w 1576226"/>
              <a:gd name="connsiteY93" fmla="*/ 1160401 h 1640228"/>
              <a:gd name="connsiteX94" fmla="*/ 1114684 w 1576226"/>
              <a:gd name="connsiteY94" fmla="*/ 1134290 h 1640228"/>
              <a:gd name="connsiteX95" fmla="*/ 896970 w 1576226"/>
              <a:gd name="connsiteY95" fmla="*/ 1134290 h 1640228"/>
              <a:gd name="connsiteX96" fmla="*/ 923081 w 1576226"/>
              <a:gd name="connsiteY96" fmla="*/ 1160401 h 1640228"/>
              <a:gd name="connsiteX97" fmla="*/ 896970 w 1576226"/>
              <a:gd name="connsiteY97" fmla="*/ 1186512 h 1640228"/>
              <a:gd name="connsiteX98" fmla="*/ 870859 w 1576226"/>
              <a:gd name="connsiteY98" fmla="*/ 1160401 h 1640228"/>
              <a:gd name="connsiteX99" fmla="*/ 896970 w 1576226"/>
              <a:gd name="connsiteY99" fmla="*/ 1134290 h 1640228"/>
              <a:gd name="connsiteX100" fmla="*/ 679255 w 1576226"/>
              <a:gd name="connsiteY100" fmla="*/ 1134290 h 1640228"/>
              <a:gd name="connsiteX101" fmla="*/ 705366 w 1576226"/>
              <a:gd name="connsiteY101" fmla="*/ 1160401 h 1640228"/>
              <a:gd name="connsiteX102" fmla="*/ 679255 w 1576226"/>
              <a:gd name="connsiteY102" fmla="*/ 1186512 h 1640228"/>
              <a:gd name="connsiteX103" fmla="*/ 653144 w 1576226"/>
              <a:gd name="connsiteY103" fmla="*/ 1160401 h 1640228"/>
              <a:gd name="connsiteX104" fmla="*/ 679255 w 1576226"/>
              <a:gd name="connsiteY104" fmla="*/ 1134290 h 1640228"/>
              <a:gd name="connsiteX105" fmla="*/ 461541 w 1576226"/>
              <a:gd name="connsiteY105" fmla="*/ 1134290 h 1640228"/>
              <a:gd name="connsiteX106" fmla="*/ 487652 w 1576226"/>
              <a:gd name="connsiteY106" fmla="*/ 1160401 h 1640228"/>
              <a:gd name="connsiteX107" fmla="*/ 461541 w 1576226"/>
              <a:gd name="connsiteY107" fmla="*/ 1186512 h 1640228"/>
              <a:gd name="connsiteX108" fmla="*/ 435430 w 1576226"/>
              <a:gd name="connsiteY108" fmla="*/ 1160401 h 1640228"/>
              <a:gd name="connsiteX109" fmla="*/ 461541 w 1576226"/>
              <a:gd name="connsiteY109" fmla="*/ 1134290 h 1640228"/>
              <a:gd name="connsiteX110" fmla="*/ 243827 w 1576226"/>
              <a:gd name="connsiteY110" fmla="*/ 1134290 h 1640228"/>
              <a:gd name="connsiteX111" fmla="*/ 269938 w 1576226"/>
              <a:gd name="connsiteY111" fmla="*/ 1160401 h 1640228"/>
              <a:gd name="connsiteX112" fmla="*/ 243827 w 1576226"/>
              <a:gd name="connsiteY112" fmla="*/ 1186512 h 1640228"/>
              <a:gd name="connsiteX113" fmla="*/ 217716 w 1576226"/>
              <a:gd name="connsiteY113" fmla="*/ 1160401 h 1640228"/>
              <a:gd name="connsiteX114" fmla="*/ 243827 w 1576226"/>
              <a:gd name="connsiteY114" fmla="*/ 1134290 h 1640228"/>
              <a:gd name="connsiteX115" fmla="*/ 26113 w 1576226"/>
              <a:gd name="connsiteY115" fmla="*/ 1134290 h 1640228"/>
              <a:gd name="connsiteX116" fmla="*/ 52224 w 1576226"/>
              <a:gd name="connsiteY116" fmla="*/ 1160401 h 1640228"/>
              <a:gd name="connsiteX117" fmla="*/ 26113 w 1576226"/>
              <a:gd name="connsiteY117" fmla="*/ 1186512 h 1640228"/>
              <a:gd name="connsiteX118" fmla="*/ 2 w 1576226"/>
              <a:gd name="connsiteY118" fmla="*/ 1160401 h 1640228"/>
              <a:gd name="connsiteX119" fmla="*/ 26113 w 1576226"/>
              <a:gd name="connsiteY119" fmla="*/ 1134290 h 1640228"/>
              <a:gd name="connsiteX120" fmla="*/ 1550112 w 1576226"/>
              <a:gd name="connsiteY120" fmla="*/ 907432 h 1640228"/>
              <a:gd name="connsiteX121" fmla="*/ 1576223 w 1576226"/>
              <a:gd name="connsiteY121" fmla="*/ 933543 h 1640228"/>
              <a:gd name="connsiteX122" fmla="*/ 1550112 w 1576226"/>
              <a:gd name="connsiteY122" fmla="*/ 959654 h 1640228"/>
              <a:gd name="connsiteX123" fmla="*/ 1524001 w 1576226"/>
              <a:gd name="connsiteY123" fmla="*/ 933543 h 1640228"/>
              <a:gd name="connsiteX124" fmla="*/ 1550112 w 1576226"/>
              <a:gd name="connsiteY124" fmla="*/ 907432 h 1640228"/>
              <a:gd name="connsiteX125" fmla="*/ 1332398 w 1576226"/>
              <a:gd name="connsiteY125" fmla="*/ 907432 h 1640228"/>
              <a:gd name="connsiteX126" fmla="*/ 1358509 w 1576226"/>
              <a:gd name="connsiteY126" fmla="*/ 933543 h 1640228"/>
              <a:gd name="connsiteX127" fmla="*/ 1332398 w 1576226"/>
              <a:gd name="connsiteY127" fmla="*/ 959654 h 1640228"/>
              <a:gd name="connsiteX128" fmla="*/ 1306287 w 1576226"/>
              <a:gd name="connsiteY128" fmla="*/ 933543 h 1640228"/>
              <a:gd name="connsiteX129" fmla="*/ 1332398 w 1576226"/>
              <a:gd name="connsiteY129" fmla="*/ 907432 h 1640228"/>
              <a:gd name="connsiteX130" fmla="*/ 1114685 w 1576226"/>
              <a:gd name="connsiteY130" fmla="*/ 907432 h 1640228"/>
              <a:gd name="connsiteX131" fmla="*/ 1140796 w 1576226"/>
              <a:gd name="connsiteY131" fmla="*/ 933543 h 1640228"/>
              <a:gd name="connsiteX132" fmla="*/ 1114685 w 1576226"/>
              <a:gd name="connsiteY132" fmla="*/ 959654 h 1640228"/>
              <a:gd name="connsiteX133" fmla="*/ 1088574 w 1576226"/>
              <a:gd name="connsiteY133" fmla="*/ 933543 h 1640228"/>
              <a:gd name="connsiteX134" fmla="*/ 1114685 w 1576226"/>
              <a:gd name="connsiteY134" fmla="*/ 907432 h 1640228"/>
              <a:gd name="connsiteX135" fmla="*/ 896971 w 1576226"/>
              <a:gd name="connsiteY135" fmla="*/ 907432 h 1640228"/>
              <a:gd name="connsiteX136" fmla="*/ 923082 w 1576226"/>
              <a:gd name="connsiteY136" fmla="*/ 933543 h 1640228"/>
              <a:gd name="connsiteX137" fmla="*/ 896971 w 1576226"/>
              <a:gd name="connsiteY137" fmla="*/ 959654 h 1640228"/>
              <a:gd name="connsiteX138" fmla="*/ 870860 w 1576226"/>
              <a:gd name="connsiteY138" fmla="*/ 933543 h 1640228"/>
              <a:gd name="connsiteX139" fmla="*/ 896971 w 1576226"/>
              <a:gd name="connsiteY139" fmla="*/ 907432 h 1640228"/>
              <a:gd name="connsiteX140" fmla="*/ 679256 w 1576226"/>
              <a:gd name="connsiteY140" fmla="*/ 907432 h 1640228"/>
              <a:gd name="connsiteX141" fmla="*/ 705367 w 1576226"/>
              <a:gd name="connsiteY141" fmla="*/ 933543 h 1640228"/>
              <a:gd name="connsiteX142" fmla="*/ 679256 w 1576226"/>
              <a:gd name="connsiteY142" fmla="*/ 959654 h 1640228"/>
              <a:gd name="connsiteX143" fmla="*/ 653145 w 1576226"/>
              <a:gd name="connsiteY143" fmla="*/ 933543 h 1640228"/>
              <a:gd name="connsiteX144" fmla="*/ 679256 w 1576226"/>
              <a:gd name="connsiteY144" fmla="*/ 907432 h 1640228"/>
              <a:gd name="connsiteX145" fmla="*/ 461542 w 1576226"/>
              <a:gd name="connsiteY145" fmla="*/ 907432 h 1640228"/>
              <a:gd name="connsiteX146" fmla="*/ 487653 w 1576226"/>
              <a:gd name="connsiteY146" fmla="*/ 933543 h 1640228"/>
              <a:gd name="connsiteX147" fmla="*/ 461542 w 1576226"/>
              <a:gd name="connsiteY147" fmla="*/ 959654 h 1640228"/>
              <a:gd name="connsiteX148" fmla="*/ 435431 w 1576226"/>
              <a:gd name="connsiteY148" fmla="*/ 933543 h 1640228"/>
              <a:gd name="connsiteX149" fmla="*/ 461542 w 1576226"/>
              <a:gd name="connsiteY149" fmla="*/ 907432 h 1640228"/>
              <a:gd name="connsiteX150" fmla="*/ 243828 w 1576226"/>
              <a:gd name="connsiteY150" fmla="*/ 907432 h 1640228"/>
              <a:gd name="connsiteX151" fmla="*/ 269939 w 1576226"/>
              <a:gd name="connsiteY151" fmla="*/ 933543 h 1640228"/>
              <a:gd name="connsiteX152" fmla="*/ 243828 w 1576226"/>
              <a:gd name="connsiteY152" fmla="*/ 959654 h 1640228"/>
              <a:gd name="connsiteX153" fmla="*/ 217717 w 1576226"/>
              <a:gd name="connsiteY153" fmla="*/ 933543 h 1640228"/>
              <a:gd name="connsiteX154" fmla="*/ 243828 w 1576226"/>
              <a:gd name="connsiteY154" fmla="*/ 907432 h 1640228"/>
              <a:gd name="connsiteX155" fmla="*/ 26114 w 1576226"/>
              <a:gd name="connsiteY155" fmla="*/ 907432 h 1640228"/>
              <a:gd name="connsiteX156" fmla="*/ 52225 w 1576226"/>
              <a:gd name="connsiteY156" fmla="*/ 933543 h 1640228"/>
              <a:gd name="connsiteX157" fmla="*/ 26114 w 1576226"/>
              <a:gd name="connsiteY157" fmla="*/ 959654 h 1640228"/>
              <a:gd name="connsiteX158" fmla="*/ 3 w 1576226"/>
              <a:gd name="connsiteY158" fmla="*/ 933543 h 1640228"/>
              <a:gd name="connsiteX159" fmla="*/ 26114 w 1576226"/>
              <a:gd name="connsiteY159" fmla="*/ 907432 h 1640228"/>
              <a:gd name="connsiteX160" fmla="*/ 1550113 w 1576226"/>
              <a:gd name="connsiteY160" fmla="*/ 680574 h 1640228"/>
              <a:gd name="connsiteX161" fmla="*/ 1576224 w 1576226"/>
              <a:gd name="connsiteY161" fmla="*/ 706685 h 1640228"/>
              <a:gd name="connsiteX162" fmla="*/ 1550113 w 1576226"/>
              <a:gd name="connsiteY162" fmla="*/ 732796 h 1640228"/>
              <a:gd name="connsiteX163" fmla="*/ 1524002 w 1576226"/>
              <a:gd name="connsiteY163" fmla="*/ 706685 h 1640228"/>
              <a:gd name="connsiteX164" fmla="*/ 1550113 w 1576226"/>
              <a:gd name="connsiteY164" fmla="*/ 680574 h 1640228"/>
              <a:gd name="connsiteX165" fmla="*/ 1332399 w 1576226"/>
              <a:gd name="connsiteY165" fmla="*/ 680574 h 1640228"/>
              <a:gd name="connsiteX166" fmla="*/ 1358510 w 1576226"/>
              <a:gd name="connsiteY166" fmla="*/ 706685 h 1640228"/>
              <a:gd name="connsiteX167" fmla="*/ 1332399 w 1576226"/>
              <a:gd name="connsiteY167" fmla="*/ 732796 h 1640228"/>
              <a:gd name="connsiteX168" fmla="*/ 1306288 w 1576226"/>
              <a:gd name="connsiteY168" fmla="*/ 706685 h 1640228"/>
              <a:gd name="connsiteX169" fmla="*/ 1332399 w 1576226"/>
              <a:gd name="connsiteY169" fmla="*/ 680574 h 1640228"/>
              <a:gd name="connsiteX170" fmla="*/ 1114686 w 1576226"/>
              <a:gd name="connsiteY170" fmla="*/ 680574 h 1640228"/>
              <a:gd name="connsiteX171" fmla="*/ 1140797 w 1576226"/>
              <a:gd name="connsiteY171" fmla="*/ 706685 h 1640228"/>
              <a:gd name="connsiteX172" fmla="*/ 1114686 w 1576226"/>
              <a:gd name="connsiteY172" fmla="*/ 732796 h 1640228"/>
              <a:gd name="connsiteX173" fmla="*/ 1088575 w 1576226"/>
              <a:gd name="connsiteY173" fmla="*/ 706685 h 1640228"/>
              <a:gd name="connsiteX174" fmla="*/ 1114686 w 1576226"/>
              <a:gd name="connsiteY174" fmla="*/ 680574 h 1640228"/>
              <a:gd name="connsiteX175" fmla="*/ 896972 w 1576226"/>
              <a:gd name="connsiteY175" fmla="*/ 680574 h 1640228"/>
              <a:gd name="connsiteX176" fmla="*/ 923083 w 1576226"/>
              <a:gd name="connsiteY176" fmla="*/ 706685 h 1640228"/>
              <a:gd name="connsiteX177" fmla="*/ 896972 w 1576226"/>
              <a:gd name="connsiteY177" fmla="*/ 732796 h 1640228"/>
              <a:gd name="connsiteX178" fmla="*/ 870861 w 1576226"/>
              <a:gd name="connsiteY178" fmla="*/ 706685 h 1640228"/>
              <a:gd name="connsiteX179" fmla="*/ 896972 w 1576226"/>
              <a:gd name="connsiteY179" fmla="*/ 680574 h 1640228"/>
              <a:gd name="connsiteX180" fmla="*/ 679257 w 1576226"/>
              <a:gd name="connsiteY180" fmla="*/ 680574 h 1640228"/>
              <a:gd name="connsiteX181" fmla="*/ 705368 w 1576226"/>
              <a:gd name="connsiteY181" fmla="*/ 706685 h 1640228"/>
              <a:gd name="connsiteX182" fmla="*/ 679257 w 1576226"/>
              <a:gd name="connsiteY182" fmla="*/ 732796 h 1640228"/>
              <a:gd name="connsiteX183" fmla="*/ 653146 w 1576226"/>
              <a:gd name="connsiteY183" fmla="*/ 706685 h 1640228"/>
              <a:gd name="connsiteX184" fmla="*/ 679257 w 1576226"/>
              <a:gd name="connsiteY184" fmla="*/ 680574 h 1640228"/>
              <a:gd name="connsiteX185" fmla="*/ 461543 w 1576226"/>
              <a:gd name="connsiteY185" fmla="*/ 680574 h 1640228"/>
              <a:gd name="connsiteX186" fmla="*/ 487654 w 1576226"/>
              <a:gd name="connsiteY186" fmla="*/ 706685 h 1640228"/>
              <a:gd name="connsiteX187" fmla="*/ 461543 w 1576226"/>
              <a:gd name="connsiteY187" fmla="*/ 732796 h 1640228"/>
              <a:gd name="connsiteX188" fmla="*/ 435432 w 1576226"/>
              <a:gd name="connsiteY188" fmla="*/ 706685 h 1640228"/>
              <a:gd name="connsiteX189" fmla="*/ 461543 w 1576226"/>
              <a:gd name="connsiteY189" fmla="*/ 680574 h 1640228"/>
              <a:gd name="connsiteX190" fmla="*/ 243829 w 1576226"/>
              <a:gd name="connsiteY190" fmla="*/ 680574 h 1640228"/>
              <a:gd name="connsiteX191" fmla="*/ 269940 w 1576226"/>
              <a:gd name="connsiteY191" fmla="*/ 706685 h 1640228"/>
              <a:gd name="connsiteX192" fmla="*/ 243829 w 1576226"/>
              <a:gd name="connsiteY192" fmla="*/ 732796 h 1640228"/>
              <a:gd name="connsiteX193" fmla="*/ 217718 w 1576226"/>
              <a:gd name="connsiteY193" fmla="*/ 706685 h 1640228"/>
              <a:gd name="connsiteX194" fmla="*/ 243829 w 1576226"/>
              <a:gd name="connsiteY194" fmla="*/ 680574 h 1640228"/>
              <a:gd name="connsiteX195" fmla="*/ 26115 w 1576226"/>
              <a:gd name="connsiteY195" fmla="*/ 680574 h 1640228"/>
              <a:gd name="connsiteX196" fmla="*/ 52226 w 1576226"/>
              <a:gd name="connsiteY196" fmla="*/ 706685 h 1640228"/>
              <a:gd name="connsiteX197" fmla="*/ 26115 w 1576226"/>
              <a:gd name="connsiteY197" fmla="*/ 732796 h 1640228"/>
              <a:gd name="connsiteX198" fmla="*/ 4 w 1576226"/>
              <a:gd name="connsiteY198" fmla="*/ 706685 h 1640228"/>
              <a:gd name="connsiteX199" fmla="*/ 26115 w 1576226"/>
              <a:gd name="connsiteY199" fmla="*/ 680574 h 1640228"/>
              <a:gd name="connsiteX200" fmla="*/ 26116 w 1576226"/>
              <a:gd name="connsiteY200" fmla="*/ 453717 h 1640228"/>
              <a:gd name="connsiteX201" fmla="*/ 52227 w 1576226"/>
              <a:gd name="connsiteY201" fmla="*/ 479827 h 1640228"/>
              <a:gd name="connsiteX202" fmla="*/ 26116 w 1576226"/>
              <a:gd name="connsiteY202" fmla="*/ 505939 h 1640228"/>
              <a:gd name="connsiteX203" fmla="*/ 5 w 1576226"/>
              <a:gd name="connsiteY203" fmla="*/ 479827 h 1640228"/>
              <a:gd name="connsiteX204" fmla="*/ 26116 w 1576226"/>
              <a:gd name="connsiteY204" fmla="*/ 453717 h 1640228"/>
              <a:gd name="connsiteX205" fmla="*/ 243830 w 1576226"/>
              <a:gd name="connsiteY205" fmla="*/ 453717 h 1640228"/>
              <a:gd name="connsiteX206" fmla="*/ 269941 w 1576226"/>
              <a:gd name="connsiteY206" fmla="*/ 479827 h 1640228"/>
              <a:gd name="connsiteX207" fmla="*/ 243830 w 1576226"/>
              <a:gd name="connsiteY207" fmla="*/ 505939 h 1640228"/>
              <a:gd name="connsiteX208" fmla="*/ 217719 w 1576226"/>
              <a:gd name="connsiteY208" fmla="*/ 479827 h 1640228"/>
              <a:gd name="connsiteX209" fmla="*/ 243830 w 1576226"/>
              <a:gd name="connsiteY209" fmla="*/ 453717 h 1640228"/>
              <a:gd name="connsiteX210" fmla="*/ 461544 w 1576226"/>
              <a:gd name="connsiteY210" fmla="*/ 453717 h 1640228"/>
              <a:gd name="connsiteX211" fmla="*/ 487655 w 1576226"/>
              <a:gd name="connsiteY211" fmla="*/ 479827 h 1640228"/>
              <a:gd name="connsiteX212" fmla="*/ 461544 w 1576226"/>
              <a:gd name="connsiteY212" fmla="*/ 505939 h 1640228"/>
              <a:gd name="connsiteX213" fmla="*/ 435433 w 1576226"/>
              <a:gd name="connsiteY213" fmla="*/ 479827 h 1640228"/>
              <a:gd name="connsiteX214" fmla="*/ 461544 w 1576226"/>
              <a:gd name="connsiteY214" fmla="*/ 453717 h 1640228"/>
              <a:gd name="connsiteX215" fmla="*/ 679258 w 1576226"/>
              <a:gd name="connsiteY215" fmla="*/ 453717 h 1640228"/>
              <a:gd name="connsiteX216" fmla="*/ 705369 w 1576226"/>
              <a:gd name="connsiteY216" fmla="*/ 479827 h 1640228"/>
              <a:gd name="connsiteX217" fmla="*/ 679258 w 1576226"/>
              <a:gd name="connsiteY217" fmla="*/ 505939 h 1640228"/>
              <a:gd name="connsiteX218" fmla="*/ 653147 w 1576226"/>
              <a:gd name="connsiteY218" fmla="*/ 479827 h 1640228"/>
              <a:gd name="connsiteX219" fmla="*/ 679258 w 1576226"/>
              <a:gd name="connsiteY219" fmla="*/ 453717 h 1640228"/>
              <a:gd name="connsiteX220" fmla="*/ 896973 w 1576226"/>
              <a:gd name="connsiteY220" fmla="*/ 453717 h 1640228"/>
              <a:gd name="connsiteX221" fmla="*/ 923084 w 1576226"/>
              <a:gd name="connsiteY221" fmla="*/ 479827 h 1640228"/>
              <a:gd name="connsiteX222" fmla="*/ 896973 w 1576226"/>
              <a:gd name="connsiteY222" fmla="*/ 505939 h 1640228"/>
              <a:gd name="connsiteX223" fmla="*/ 870862 w 1576226"/>
              <a:gd name="connsiteY223" fmla="*/ 479827 h 1640228"/>
              <a:gd name="connsiteX224" fmla="*/ 896973 w 1576226"/>
              <a:gd name="connsiteY224" fmla="*/ 453717 h 1640228"/>
              <a:gd name="connsiteX225" fmla="*/ 1114687 w 1576226"/>
              <a:gd name="connsiteY225" fmla="*/ 453717 h 1640228"/>
              <a:gd name="connsiteX226" fmla="*/ 1140798 w 1576226"/>
              <a:gd name="connsiteY226" fmla="*/ 479827 h 1640228"/>
              <a:gd name="connsiteX227" fmla="*/ 1114687 w 1576226"/>
              <a:gd name="connsiteY227" fmla="*/ 505938 h 1640228"/>
              <a:gd name="connsiteX228" fmla="*/ 1088576 w 1576226"/>
              <a:gd name="connsiteY228" fmla="*/ 479827 h 1640228"/>
              <a:gd name="connsiteX229" fmla="*/ 1114687 w 1576226"/>
              <a:gd name="connsiteY229" fmla="*/ 453717 h 1640228"/>
              <a:gd name="connsiteX230" fmla="*/ 1332400 w 1576226"/>
              <a:gd name="connsiteY230" fmla="*/ 453716 h 1640228"/>
              <a:gd name="connsiteX231" fmla="*/ 1358511 w 1576226"/>
              <a:gd name="connsiteY231" fmla="*/ 479827 h 1640228"/>
              <a:gd name="connsiteX232" fmla="*/ 1332400 w 1576226"/>
              <a:gd name="connsiteY232" fmla="*/ 505938 h 1640228"/>
              <a:gd name="connsiteX233" fmla="*/ 1306289 w 1576226"/>
              <a:gd name="connsiteY233" fmla="*/ 479827 h 1640228"/>
              <a:gd name="connsiteX234" fmla="*/ 1332400 w 1576226"/>
              <a:gd name="connsiteY234" fmla="*/ 453716 h 1640228"/>
              <a:gd name="connsiteX235" fmla="*/ 1550114 w 1576226"/>
              <a:gd name="connsiteY235" fmla="*/ 453716 h 1640228"/>
              <a:gd name="connsiteX236" fmla="*/ 1576225 w 1576226"/>
              <a:gd name="connsiteY236" fmla="*/ 479827 h 1640228"/>
              <a:gd name="connsiteX237" fmla="*/ 1550114 w 1576226"/>
              <a:gd name="connsiteY237" fmla="*/ 505938 h 1640228"/>
              <a:gd name="connsiteX238" fmla="*/ 1524003 w 1576226"/>
              <a:gd name="connsiteY238" fmla="*/ 479827 h 1640228"/>
              <a:gd name="connsiteX239" fmla="*/ 1550114 w 1576226"/>
              <a:gd name="connsiteY239" fmla="*/ 453716 h 1640228"/>
              <a:gd name="connsiteX240" fmla="*/ 1114688 w 1576226"/>
              <a:gd name="connsiteY240" fmla="*/ 226858 h 1640228"/>
              <a:gd name="connsiteX241" fmla="*/ 1140799 w 1576226"/>
              <a:gd name="connsiteY241" fmla="*/ 252969 h 1640228"/>
              <a:gd name="connsiteX242" fmla="*/ 1114688 w 1576226"/>
              <a:gd name="connsiteY242" fmla="*/ 279080 h 1640228"/>
              <a:gd name="connsiteX243" fmla="*/ 1088577 w 1576226"/>
              <a:gd name="connsiteY243" fmla="*/ 252969 h 1640228"/>
              <a:gd name="connsiteX244" fmla="*/ 1114688 w 1576226"/>
              <a:gd name="connsiteY244" fmla="*/ 226858 h 1640228"/>
              <a:gd name="connsiteX245" fmla="*/ 896974 w 1576226"/>
              <a:gd name="connsiteY245" fmla="*/ 226858 h 1640228"/>
              <a:gd name="connsiteX246" fmla="*/ 923085 w 1576226"/>
              <a:gd name="connsiteY246" fmla="*/ 252969 h 1640228"/>
              <a:gd name="connsiteX247" fmla="*/ 896974 w 1576226"/>
              <a:gd name="connsiteY247" fmla="*/ 279080 h 1640228"/>
              <a:gd name="connsiteX248" fmla="*/ 870863 w 1576226"/>
              <a:gd name="connsiteY248" fmla="*/ 252969 h 1640228"/>
              <a:gd name="connsiteX249" fmla="*/ 896974 w 1576226"/>
              <a:gd name="connsiteY249" fmla="*/ 226858 h 1640228"/>
              <a:gd name="connsiteX250" fmla="*/ 679259 w 1576226"/>
              <a:gd name="connsiteY250" fmla="*/ 226858 h 1640228"/>
              <a:gd name="connsiteX251" fmla="*/ 705370 w 1576226"/>
              <a:gd name="connsiteY251" fmla="*/ 252970 h 1640228"/>
              <a:gd name="connsiteX252" fmla="*/ 679259 w 1576226"/>
              <a:gd name="connsiteY252" fmla="*/ 279080 h 1640228"/>
              <a:gd name="connsiteX253" fmla="*/ 653148 w 1576226"/>
              <a:gd name="connsiteY253" fmla="*/ 252970 h 1640228"/>
              <a:gd name="connsiteX254" fmla="*/ 679259 w 1576226"/>
              <a:gd name="connsiteY254" fmla="*/ 226858 h 1640228"/>
              <a:gd name="connsiteX255" fmla="*/ 461545 w 1576226"/>
              <a:gd name="connsiteY255" fmla="*/ 226858 h 1640228"/>
              <a:gd name="connsiteX256" fmla="*/ 487656 w 1576226"/>
              <a:gd name="connsiteY256" fmla="*/ 252970 h 1640228"/>
              <a:gd name="connsiteX257" fmla="*/ 461545 w 1576226"/>
              <a:gd name="connsiteY257" fmla="*/ 279081 h 1640228"/>
              <a:gd name="connsiteX258" fmla="*/ 435434 w 1576226"/>
              <a:gd name="connsiteY258" fmla="*/ 252970 h 1640228"/>
              <a:gd name="connsiteX259" fmla="*/ 461545 w 1576226"/>
              <a:gd name="connsiteY259" fmla="*/ 226858 h 1640228"/>
              <a:gd name="connsiteX260" fmla="*/ 243831 w 1576226"/>
              <a:gd name="connsiteY260" fmla="*/ 226858 h 1640228"/>
              <a:gd name="connsiteX261" fmla="*/ 269942 w 1576226"/>
              <a:gd name="connsiteY261" fmla="*/ 252970 h 1640228"/>
              <a:gd name="connsiteX262" fmla="*/ 243831 w 1576226"/>
              <a:gd name="connsiteY262" fmla="*/ 279081 h 1640228"/>
              <a:gd name="connsiteX263" fmla="*/ 217720 w 1576226"/>
              <a:gd name="connsiteY263" fmla="*/ 252970 h 1640228"/>
              <a:gd name="connsiteX264" fmla="*/ 243831 w 1576226"/>
              <a:gd name="connsiteY264" fmla="*/ 226858 h 1640228"/>
              <a:gd name="connsiteX265" fmla="*/ 26117 w 1576226"/>
              <a:gd name="connsiteY265" fmla="*/ 226858 h 1640228"/>
              <a:gd name="connsiteX266" fmla="*/ 52228 w 1576226"/>
              <a:gd name="connsiteY266" fmla="*/ 252970 h 1640228"/>
              <a:gd name="connsiteX267" fmla="*/ 26117 w 1576226"/>
              <a:gd name="connsiteY267" fmla="*/ 279081 h 1640228"/>
              <a:gd name="connsiteX268" fmla="*/ 6 w 1576226"/>
              <a:gd name="connsiteY268" fmla="*/ 252970 h 1640228"/>
              <a:gd name="connsiteX269" fmla="*/ 26117 w 1576226"/>
              <a:gd name="connsiteY269" fmla="*/ 226858 h 1640228"/>
              <a:gd name="connsiteX270" fmla="*/ 1332401 w 1576226"/>
              <a:gd name="connsiteY270" fmla="*/ 226858 h 1640228"/>
              <a:gd name="connsiteX271" fmla="*/ 1358512 w 1576226"/>
              <a:gd name="connsiteY271" fmla="*/ 252969 h 1640228"/>
              <a:gd name="connsiteX272" fmla="*/ 1332401 w 1576226"/>
              <a:gd name="connsiteY272" fmla="*/ 279080 h 1640228"/>
              <a:gd name="connsiteX273" fmla="*/ 1306290 w 1576226"/>
              <a:gd name="connsiteY273" fmla="*/ 252969 h 1640228"/>
              <a:gd name="connsiteX274" fmla="*/ 1332401 w 1576226"/>
              <a:gd name="connsiteY274" fmla="*/ 226858 h 1640228"/>
              <a:gd name="connsiteX275" fmla="*/ 1550115 w 1576226"/>
              <a:gd name="connsiteY275" fmla="*/ 226858 h 1640228"/>
              <a:gd name="connsiteX276" fmla="*/ 1576226 w 1576226"/>
              <a:gd name="connsiteY276" fmla="*/ 252969 h 1640228"/>
              <a:gd name="connsiteX277" fmla="*/ 1550115 w 1576226"/>
              <a:gd name="connsiteY277" fmla="*/ 279080 h 1640228"/>
              <a:gd name="connsiteX278" fmla="*/ 1524004 w 1576226"/>
              <a:gd name="connsiteY278" fmla="*/ 252969 h 1640228"/>
              <a:gd name="connsiteX279" fmla="*/ 1550115 w 1576226"/>
              <a:gd name="connsiteY279" fmla="*/ 226858 h 1640228"/>
              <a:gd name="connsiteX280" fmla="*/ 26117 w 1576226"/>
              <a:gd name="connsiteY280" fmla="*/ 2 h 1640228"/>
              <a:gd name="connsiteX281" fmla="*/ 52228 w 1576226"/>
              <a:gd name="connsiteY281" fmla="*/ 26113 h 1640228"/>
              <a:gd name="connsiteX282" fmla="*/ 26117 w 1576226"/>
              <a:gd name="connsiteY282" fmla="*/ 52224 h 1640228"/>
              <a:gd name="connsiteX283" fmla="*/ 6 w 1576226"/>
              <a:gd name="connsiteY283" fmla="*/ 26113 h 1640228"/>
              <a:gd name="connsiteX284" fmla="*/ 26117 w 1576226"/>
              <a:gd name="connsiteY284" fmla="*/ 2 h 1640228"/>
              <a:gd name="connsiteX285" fmla="*/ 243831 w 1576226"/>
              <a:gd name="connsiteY285" fmla="*/ 1 h 1640228"/>
              <a:gd name="connsiteX286" fmla="*/ 269942 w 1576226"/>
              <a:gd name="connsiteY286" fmla="*/ 26112 h 1640228"/>
              <a:gd name="connsiteX287" fmla="*/ 243831 w 1576226"/>
              <a:gd name="connsiteY287" fmla="*/ 52224 h 1640228"/>
              <a:gd name="connsiteX288" fmla="*/ 217720 w 1576226"/>
              <a:gd name="connsiteY288" fmla="*/ 26112 h 1640228"/>
              <a:gd name="connsiteX289" fmla="*/ 243831 w 1576226"/>
              <a:gd name="connsiteY289" fmla="*/ 1 h 1640228"/>
              <a:gd name="connsiteX290" fmla="*/ 461545 w 1576226"/>
              <a:gd name="connsiteY290" fmla="*/ 1 h 1640228"/>
              <a:gd name="connsiteX291" fmla="*/ 487656 w 1576226"/>
              <a:gd name="connsiteY291" fmla="*/ 26112 h 1640228"/>
              <a:gd name="connsiteX292" fmla="*/ 461545 w 1576226"/>
              <a:gd name="connsiteY292" fmla="*/ 52224 h 1640228"/>
              <a:gd name="connsiteX293" fmla="*/ 435434 w 1576226"/>
              <a:gd name="connsiteY293" fmla="*/ 26112 h 1640228"/>
              <a:gd name="connsiteX294" fmla="*/ 461545 w 1576226"/>
              <a:gd name="connsiteY294" fmla="*/ 1 h 1640228"/>
              <a:gd name="connsiteX295" fmla="*/ 679259 w 1576226"/>
              <a:gd name="connsiteY295" fmla="*/ 1 h 1640228"/>
              <a:gd name="connsiteX296" fmla="*/ 705370 w 1576226"/>
              <a:gd name="connsiteY296" fmla="*/ 26112 h 1640228"/>
              <a:gd name="connsiteX297" fmla="*/ 679259 w 1576226"/>
              <a:gd name="connsiteY297" fmla="*/ 52223 h 1640228"/>
              <a:gd name="connsiteX298" fmla="*/ 653148 w 1576226"/>
              <a:gd name="connsiteY298" fmla="*/ 26112 h 1640228"/>
              <a:gd name="connsiteX299" fmla="*/ 679259 w 1576226"/>
              <a:gd name="connsiteY299" fmla="*/ 1 h 1640228"/>
              <a:gd name="connsiteX300" fmla="*/ 896974 w 1576226"/>
              <a:gd name="connsiteY300" fmla="*/ 1 h 1640228"/>
              <a:gd name="connsiteX301" fmla="*/ 923085 w 1576226"/>
              <a:gd name="connsiteY301" fmla="*/ 26112 h 1640228"/>
              <a:gd name="connsiteX302" fmla="*/ 896974 w 1576226"/>
              <a:gd name="connsiteY302" fmla="*/ 52223 h 1640228"/>
              <a:gd name="connsiteX303" fmla="*/ 870863 w 1576226"/>
              <a:gd name="connsiteY303" fmla="*/ 26112 h 1640228"/>
              <a:gd name="connsiteX304" fmla="*/ 896974 w 1576226"/>
              <a:gd name="connsiteY304" fmla="*/ 1 h 1640228"/>
              <a:gd name="connsiteX305" fmla="*/ 1114688 w 1576226"/>
              <a:gd name="connsiteY305" fmla="*/ 1 h 1640228"/>
              <a:gd name="connsiteX306" fmla="*/ 1140799 w 1576226"/>
              <a:gd name="connsiteY306" fmla="*/ 26112 h 1640228"/>
              <a:gd name="connsiteX307" fmla="*/ 1114688 w 1576226"/>
              <a:gd name="connsiteY307" fmla="*/ 52223 h 1640228"/>
              <a:gd name="connsiteX308" fmla="*/ 1088577 w 1576226"/>
              <a:gd name="connsiteY308" fmla="*/ 26112 h 1640228"/>
              <a:gd name="connsiteX309" fmla="*/ 1114688 w 1576226"/>
              <a:gd name="connsiteY309" fmla="*/ 1 h 1640228"/>
              <a:gd name="connsiteX310" fmla="*/ 1332401 w 1576226"/>
              <a:gd name="connsiteY310" fmla="*/ 0 h 1640228"/>
              <a:gd name="connsiteX311" fmla="*/ 1358512 w 1576226"/>
              <a:gd name="connsiteY311" fmla="*/ 26111 h 1640228"/>
              <a:gd name="connsiteX312" fmla="*/ 1332401 w 1576226"/>
              <a:gd name="connsiteY312" fmla="*/ 52223 h 1640228"/>
              <a:gd name="connsiteX313" fmla="*/ 1306290 w 1576226"/>
              <a:gd name="connsiteY313" fmla="*/ 26111 h 1640228"/>
              <a:gd name="connsiteX314" fmla="*/ 1332401 w 1576226"/>
              <a:gd name="connsiteY314" fmla="*/ 0 h 1640228"/>
              <a:gd name="connsiteX315" fmla="*/ 1550115 w 1576226"/>
              <a:gd name="connsiteY315" fmla="*/ 0 h 1640228"/>
              <a:gd name="connsiteX316" fmla="*/ 1576226 w 1576226"/>
              <a:gd name="connsiteY316" fmla="*/ 26111 h 1640228"/>
              <a:gd name="connsiteX317" fmla="*/ 1550115 w 1576226"/>
              <a:gd name="connsiteY317" fmla="*/ 52222 h 1640228"/>
              <a:gd name="connsiteX318" fmla="*/ 1524004 w 1576226"/>
              <a:gd name="connsiteY318" fmla="*/ 26111 h 1640228"/>
              <a:gd name="connsiteX319" fmla="*/ 1550115 w 1576226"/>
              <a:gd name="connsiteY319" fmla="*/ 0 h 16402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Lst>
            <a:rect l="l" t="t" r="r" b="b"/>
            <a:pathLst>
              <a:path w="1576226" h="1640228">
                <a:moveTo>
                  <a:pt x="1550109" y="1588006"/>
                </a:moveTo>
                <a:cubicBezTo>
                  <a:pt x="1564530" y="1588006"/>
                  <a:pt x="1576220" y="1599696"/>
                  <a:pt x="1576220" y="1614117"/>
                </a:cubicBezTo>
                <a:cubicBezTo>
                  <a:pt x="1576220" y="1628538"/>
                  <a:pt x="1564530" y="1640228"/>
                  <a:pt x="1550109" y="1640228"/>
                </a:cubicBezTo>
                <a:cubicBezTo>
                  <a:pt x="1535688" y="1640228"/>
                  <a:pt x="1523998" y="1628538"/>
                  <a:pt x="1523998" y="1614117"/>
                </a:cubicBezTo>
                <a:cubicBezTo>
                  <a:pt x="1523998" y="1599696"/>
                  <a:pt x="1535688" y="1588006"/>
                  <a:pt x="1550109" y="1588006"/>
                </a:cubicBezTo>
                <a:close/>
                <a:moveTo>
                  <a:pt x="1332395" y="1588006"/>
                </a:moveTo>
                <a:cubicBezTo>
                  <a:pt x="1346816" y="1588006"/>
                  <a:pt x="1358506" y="1599696"/>
                  <a:pt x="1358506" y="1614117"/>
                </a:cubicBezTo>
                <a:cubicBezTo>
                  <a:pt x="1358506" y="1628538"/>
                  <a:pt x="1346816" y="1640228"/>
                  <a:pt x="1332395" y="1640228"/>
                </a:cubicBezTo>
                <a:cubicBezTo>
                  <a:pt x="1317974" y="1640228"/>
                  <a:pt x="1306284" y="1628538"/>
                  <a:pt x="1306284" y="1614117"/>
                </a:cubicBezTo>
                <a:cubicBezTo>
                  <a:pt x="1306284" y="1599696"/>
                  <a:pt x="1317974" y="1588006"/>
                  <a:pt x="1332395" y="1588006"/>
                </a:cubicBezTo>
                <a:close/>
                <a:moveTo>
                  <a:pt x="1114682" y="1588006"/>
                </a:moveTo>
                <a:cubicBezTo>
                  <a:pt x="1129103" y="1588006"/>
                  <a:pt x="1140793" y="1599696"/>
                  <a:pt x="1140793" y="1614117"/>
                </a:cubicBezTo>
                <a:cubicBezTo>
                  <a:pt x="1140793" y="1628538"/>
                  <a:pt x="1129103" y="1640228"/>
                  <a:pt x="1114682" y="1640228"/>
                </a:cubicBezTo>
                <a:cubicBezTo>
                  <a:pt x="1100261" y="1640228"/>
                  <a:pt x="1088571" y="1628538"/>
                  <a:pt x="1088571" y="1614117"/>
                </a:cubicBezTo>
                <a:cubicBezTo>
                  <a:pt x="1088571" y="1599696"/>
                  <a:pt x="1100261" y="1588006"/>
                  <a:pt x="1114682" y="1588006"/>
                </a:cubicBezTo>
                <a:close/>
                <a:moveTo>
                  <a:pt x="896968" y="1588006"/>
                </a:moveTo>
                <a:cubicBezTo>
                  <a:pt x="911389" y="1588006"/>
                  <a:pt x="923079" y="1599696"/>
                  <a:pt x="923079" y="1614117"/>
                </a:cubicBezTo>
                <a:cubicBezTo>
                  <a:pt x="923079" y="1628538"/>
                  <a:pt x="911389" y="1640228"/>
                  <a:pt x="896968" y="1640228"/>
                </a:cubicBezTo>
                <a:cubicBezTo>
                  <a:pt x="882547" y="1640228"/>
                  <a:pt x="870857" y="1628538"/>
                  <a:pt x="870857" y="1614117"/>
                </a:cubicBezTo>
                <a:cubicBezTo>
                  <a:pt x="870857" y="1599696"/>
                  <a:pt x="882547" y="1588006"/>
                  <a:pt x="896968" y="1588006"/>
                </a:cubicBezTo>
                <a:close/>
                <a:moveTo>
                  <a:pt x="679253" y="1588006"/>
                </a:moveTo>
                <a:cubicBezTo>
                  <a:pt x="693674" y="1588006"/>
                  <a:pt x="705364" y="1599696"/>
                  <a:pt x="705364" y="1614117"/>
                </a:cubicBezTo>
                <a:cubicBezTo>
                  <a:pt x="705364" y="1628538"/>
                  <a:pt x="693674" y="1640228"/>
                  <a:pt x="679253" y="1640228"/>
                </a:cubicBezTo>
                <a:cubicBezTo>
                  <a:pt x="664832" y="1640228"/>
                  <a:pt x="653142" y="1628538"/>
                  <a:pt x="653142" y="1614117"/>
                </a:cubicBezTo>
                <a:cubicBezTo>
                  <a:pt x="653142" y="1599696"/>
                  <a:pt x="664832" y="1588006"/>
                  <a:pt x="679253" y="1588006"/>
                </a:cubicBezTo>
                <a:close/>
                <a:moveTo>
                  <a:pt x="461539" y="1588006"/>
                </a:moveTo>
                <a:cubicBezTo>
                  <a:pt x="475960" y="1588006"/>
                  <a:pt x="487650" y="1599696"/>
                  <a:pt x="487650" y="1614117"/>
                </a:cubicBezTo>
                <a:cubicBezTo>
                  <a:pt x="487650" y="1628538"/>
                  <a:pt x="475960" y="1640228"/>
                  <a:pt x="461539" y="1640228"/>
                </a:cubicBezTo>
                <a:cubicBezTo>
                  <a:pt x="447118" y="1640228"/>
                  <a:pt x="435428" y="1628538"/>
                  <a:pt x="435428" y="1614117"/>
                </a:cubicBezTo>
                <a:cubicBezTo>
                  <a:pt x="435428" y="1599696"/>
                  <a:pt x="447118" y="1588006"/>
                  <a:pt x="461539" y="1588006"/>
                </a:cubicBezTo>
                <a:close/>
                <a:moveTo>
                  <a:pt x="243825" y="1588006"/>
                </a:moveTo>
                <a:cubicBezTo>
                  <a:pt x="258246" y="1588006"/>
                  <a:pt x="269936" y="1599696"/>
                  <a:pt x="269936" y="1614117"/>
                </a:cubicBezTo>
                <a:cubicBezTo>
                  <a:pt x="269936" y="1628538"/>
                  <a:pt x="258246" y="1640228"/>
                  <a:pt x="243825" y="1640228"/>
                </a:cubicBezTo>
                <a:cubicBezTo>
                  <a:pt x="229404" y="1640228"/>
                  <a:pt x="217714" y="1628538"/>
                  <a:pt x="217714" y="1614117"/>
                </a:cubicBezTo>
                <a:cubicBezTo>
                  <a:pt x="217714" y="1599696"/>
                  <a:pt x="229404" y="1588006"/>
                  <a:pt x="243825" y="1588006"/>
                </a:cubicBezTo>
                <a:close/>
                <a:moveTo>
                  <a:pt x="26111" y="1588006"/>
                </a:moveTo>
                <a:cubicBezTo>
                  <a:pt x="40532" y="1588006"/>
                  <a:pt x="52222" y="1599696"/>
                  <a:pt x="52222" y="1614117"/>
                </a:cubicBezTo>
                <a:cubicBezTo>
                  <a:pt x="52222" y="1628538"/>
                  <a:pt x="40532" y="1640228"/>
                  <a:pt x="26111" y="1640228"/>
                </a:cubicBezTo>
                <a:cubicBezTo>
                  <a:pt x="11690" y="1640228"/>
                  <a:pt x="0" y="1628538"/>
                  <a:pt x="0" y="1614117"/>
                </a:cubicBezTo>
                <a:cubicBezTo>
                  <a:pt x="0" y="1599696"/>
                  <a:pt x="11690" y="1588006"/>
                  <a:pt x="26111" y="1588006"/>
                </a:cubicBezTo>
                <a:close/>
                <a:moveTo>
                  <a:pt x="1550110" y="1361148"/>
                </a:moveTo>
                <a:cubicBezTo>
                  <a:pt x="1564531" y="1361148"/>
                  <a:pt x="1576221" y="1372838"/>
                  <a:pt x="1576221" y="1387259"/>
                </a:cubicBezTo>
                <a:cubicBezTo>
                  <a:pt x="1576221" y="1401680"/>
                  <a:pt x="1564531" y="1413370"/>
                  <a:pt x="1550110" y="1413370"/>
                </a:cubicBezTo>
                <a:cubicBezTo>
                  <a:pt x="1535689" y="1413370"/>
                  <a:pt x="1523999" y="1401680"/>
                  <a:pt x="1523999" y="1387259"/>
                </a:cubicBezTo>
                <a:cubicBezTo>
                  <a:pt x="1523999" y="1372838"/>
                  <a:pt x="1535689" y="1361148"/>
                  <a:pt x="1550110" y="1361148"/>
                </a:cubicBezTo>
                <a:close/>
                <a:moveTo>
                  <a:pt x="1332396" y="1361148"/>
                </a:moveTo>
                <a:cubicBezTo>
                  <a:pt x="1346817" y="1361148"/>
                  <a:pt x="1358507" y="1372838"/>
                  <a:pt x="1358507" y="1387259"/>
                </a:cubicBezTo>
                <a:cubicBezTo>
                  <a:pt x="1358507" y="1401680"/>
                  <a:pt x="1346817" y="1413370"/>
                  <a:pt x="1332396" y="1413370"/>
                </a:cubicBezTo>
                <a:cubicBezTo>
                  <a:pt x="1317975" y="1413370"/>
                  <a:pt x="1306285" y="1401680"/>
                  <a:pt x="1306285" y="1387259"/>
                </a:cubicBezTo>
                <a:cubicBezTo>
                  <a:pt x="1306285" y="1372838"/>
                  <a:pt x="1317975" y="1361148"/>
                  <a:pt x="1332396" y="1361148"/>
                </a:cubicBezTo>
                <a:close/>
                <a:moveTo>
                  <a:pt x="1114683" y="1361148"/>
                </a:moveTo>
                <a:cubicBezTo>
                  <a:pt x="1129104" y="1361148"/>
                  <a:pt x="1140794" y="1372838"/>
                  <a:pt x="1140794" y="1387259"/>
                </a:cubicBezTo>
                <a:cubicBezTo>
                  <a:pt x="1140794" y="1401680"/>
                  <a:pt x="1129104" y="1413370"/>
                  <a:pt x="1114683" y="1413370"/>
                </a:cubicBezTo>
                <a:cubicBezTo>
                  <a:pt x="1100262" y="1413370"/>
                  <a:pt x="1088572" y="1401680"/>
                  <a:pt x="1088572" y="1387259"/>
                </a:cubicBezTo>
                <a:cubicBezTo>
                  <a:pt x="1088572" y="1372838"/>
                  <a:pt x="1100262" y="1361148"/>
                  <a:pt x="1114683" y="1361148"/>
                </a:cubicBezTo>
                <a:close/>
                <a:moveTo>
                  <a:pt x="896969" y="1361148"/>
                </a:moveTo>
                <a:cubicBezTo>
                  <a:pt x="911390" y="1361148"/>
                  <a:pt x="923080" y="1372838"/>
                  <a:pt x="923080" y="1387259"/>
                </a:cubicBezTo>
                <a:cubicBezTo>
                  <a:pt x="923080" y="1401680"/>
                  <a:pt x="911390" y="1413370"/>
                  <a:pt x="896969" y="1413370"/>
                </a:cubicBezTo>
                <a:cubicBezTo>
                  <a:pt x="882548" y="1413370"/>
                  <a:pt x="870858" y="1401680"/>
                  <a:pt x="870858" y="1387259"/>
                </a:cubicBezTo>
                <a:cubicBezTo>
                  <a:pt x="870858" y="1372838"/>
                  <a:pt x="882548" y="1361148"/>
                  <a:pt x="896969" y="1361148"/>
                </a:cubicBezTo>
                <a:close/>
                <a:moveTo>
                  <a:pt x="679254" y="1361148"/>
                </a:moveTo>
                <a:cubicBezTo>
                  <a:pt x="693675" y="1361148"/>
                  <a:pt x="705365" y="1372838"/>
                  <a:pt x="705365" y="1387259"/>
                </a:cubicBezTo>
                <a:cubicBezTo>
                  <a:pt x="705365" y="1401680"/>
                  <a:pt x="693675" y="1413370"/>
                  <a:pt x="679254" y="1413370"/>
                </a:cubicBezTo>
                <a:cubicBezTo>
                  <a:pt x="664833" y="1413370"/>
                  <a:pt x="653143" y="1401680"/>
                  <a:pt x="653143" y="1387259"/>
                </a:cubicBezTo>
                <a:cubicBezTo>
                  <a:pt x="653143" y="1372838"/>
                  <a:pt x="664833" y="1361148"/>
                  <a:pt x="679254" y="1361148"/>
                </a:cubicBezTo>
                <a:close/>
                <a:moveTo>
                  <a:pt x="461540" y="1361148"/>
                </a:moveTo>
                <a:cubicBezTo>
                  <a:pt x="475961" y="1361148"/>
                  <a:pt x="487651" y="1372838"/>
                  <a:pt x="487651" y="1387259"/>
                </a:cubicBezTo>
                <a:cubicBezTo>
                  <a:pt x="487651" y="1401680"/>
                  <a:pt x="475961" y="1413370"/>
                  <a:pt x="461540" y="1413370"/>
                </a:cubicBezTo>
                <a:cubicBezTo>
                  <a:pt x="447119" y="1413370"/>
                  <a:pt x="435429" y="1401680"/>
                  <a:pt x="435429" y="1387259"/>
                </a:cubicBezTo>
                <a:cubicBezTo>
                  <a:pt x="435429" y="1372838"/>
                  <a:pt x="447119" y="1361148"/>
                  <a:pt x="461540" y="1361148"/>
                </a:cubicBezTo>
                <a:close/>
                <a:moveTo>
                  <a:pt x="243826" y="1361148"/>
                </a:moveTo>
                <a:cubicBezTo>
                  <a:pt x="258247" y="1361148"/>
                  <a:pt x="269937" y="1372838"/>
                  <a:pt x="269937" y="1387259"/>
                </a:cubicBezTo>
                <a:cubicBezTo>
                  <a:pt x="269937" y="1401680"/>
                  <a:pt x="258247" y="1413370"/>
                  <a:pt x="243826" y="1413370"/>
                </a:cubicBezTo>
                <a:cubicBezTo>
                  <a:pt x="229405" y="1413370"/>
                  <a:pt x="217715" y="1401680"/>
                  <a:pt x="217715" y="1387259"/>
                </a:cubicBezTo>
                <a:cubicBezTo>
                  <a:pt x="217715" y="1372838"/>
                  <a:pt x="229405" y="1361148"/>
                  <a:pt x="243826" y="1361148"/>
                </a:cubicBezTo>
                <a:close/>
                <a:moveTo>
                  <a:pt x="26112" y="1361148"/>
                </a:moveTo>
                <a:cubicBezTo>
                  <a:pt x="40533" y="1361148"/>
                  <a:pt x="52223" y="1372838"/>
                  <a:pt x="52223" y="1387259"/>
                </a:cubicBezTo>
                <a:cubicBezTo>
                  <a:pt x="52223" y="1401680"/>
                  <a:pt x="40533" y="1413370"/>
                  <a:pt x="26112" y="1413370"/>
                </a:cubicBezTo>
                <a:cubicBezTo>
                  <a:pt x="11691" y="1413370"/>
                  <a:pt x="1" y="1401680"/>
                  <a:pt x="1" y="1387259"/>
                </a:cubicBezTo>
                <a:cubicBezTo>
                  <a:pt x="1" y="1372838"/>
                  <a:pt x="11691" y="1361148"/>
                  <a:pt x="26112" y="1361148"/>
                </a:cubicBezTo>
                <a:close/>
                <a:moveTo>
                  <a:pt x="1550111" y="1134290"/>
                </a:moveTo>
                <a:cubicBezTo>
                  <a:pt x="1564532" y="1134290"/>
                  <a:pt x="1576222" y="1145980"/>
                  <a:pt x="1576222" y="1160401"/>
                </a:cubicBezTo>
                <a:cubicBezTo>
                  <a:pt x="1576222" y="1174822"/>
                  <a:pt x="1564532" y="1186512"/>
                  <a:pt x="1550111" y="1186512"/>
                </a:cubicBezTo>
                <a:cubicBezTo>
                  <a:pt x="1535690" y="1186512"/>
                  <a:pt x="1524000" y="1174822"/>
                  <a:pt x="1524000" y="1160401"/>
                </a:cubicBezTo>
                <a:cubicBezTo>
                  <a:pt x="1524000" y="1145980"/>
                  <a:pt x="1535690" y="1134290"/>
                  <a:pt x="1550111" y="1134290"/>
                </a:cubicBezTo>
                <a:close/>
                <a:moveTo>
                  <a:pt x="1332397" y="1134290"/>
                </a:moveTo>
                <a:cubicBezTo>
                  <a:pt x="1346818" y="1134290"/>
                  <a:pt x="1358508" y="1145980"/>
                  <a:pt x="1358508" y="1160401"/>
                </a:cubicBezTo>
                <a:cubicBezTo>
                  <a:pt x="1358508" y="1174822"/>
                  <a:pt x="1346818" y="1186512"/>
                  <a:pt x="1332397" y="1186512"/>
                </a:cubicBezTo>
                <a:cubicBezTo>
                  <a:pt x="1317976" y="1186512"/>
                  <a:pt x="1306286" y="1174822"/>
                  <a:pt x="1306286" y="1160401"/>
                </a:cubicBezTo>
                <a:cubicBezTo>
                  <a:pt x="1306286" y="1145980"/>
                  <a:pt x="1317976" y="1134290"/>
                  <a:pt x="1332397" y="1134290"/>
                </a:cubicBezTo>
                <a:close/>
                <a:moveTo>
                  <a:pt x="1114684" y="1134290"/>
                </a:moveTo>
                <a:cubicBezTo>
                  <a:pt x="1129105" y="1134290"/>
                  <a:pt x="1140795" y="1145980"/>
                  <a:pt x="1140795" y="1160401"/>
                </a:cubicBezTo>
                <a:cubicBezTo>
                  <a:pt x="1140795" y="1174822"/>
                  <a:pt x="1129105" y="1186512"/>
                  <a:pt x="1114684" y="1186512"/>
                </a:cubicBezTo>
                <a:cubicBezTo>
                  <a:pt x="1100263" y="1186512"/>
                  <a:pt x="1088573" y="1174822"/>
                  <a:pt x="1088573" y="1160401"/>
                </a:cubicBezTo>
                <a:cubicBezTo>
                  <a:pt x="1088573" y="1145980"/>
                  <a:pt x="1100263" y="1134290"/>
                  <a:pt x="1114684" y="1134290"/>
                </a:cubicBezTo>
                <a:close/>
                <a:moveTo>
                  <a:pt x="896970" y="1134290"/>
                </a:moveTo>
                <a:cubicBezTo>
                  <a:pt x="911391" y="1134290"/>
                  <a:pt x="923081" y="1145980"/>
                  <a:pt x="923081" y="1160401"/>
                </a:cubicBezTo>
                <a:cubicBezTo>
                  <a:pt x="923081" y="1174822"/>
                  <a:pt x="911391" y="1186512"/>
                  <a:pt x="896970" y="1186512"/>
                </a:cubicBezTo>
                <a:cubicBezTo>
                  <a:pt x="882549" y="1186512"/>
                  <a:pt x="870859" y="1174822"/>
                  <a:pt x="870859" y="1160401"/>
                </a:cubicBezTo>
                <a:cubicBezTo>
                  <a:pt x="870859" y="1145980"/>
                  <a:pt x="882549" y="1134290"/>
                  <a:pt x="896970" y="1134290"/>
                </a:cubicBezTo>
                <a:close/>
                <a:moveTo>
                  <a:pt x="679255" y="1134290"/>
                </a:moveTo>
                <a:cubicBezTo>
                  <a:pt x="693676" y="1134290"/>
                  <a:pt x="705366" y="1145980"/>
                  <a:pt x="705366" y="1160401"/>
                </a:cubicBezTo>
                <a:cubicBezTo>
                  <a:pt x="705366" y="1174822"/>
                  <a:pt x="693676" y="1186512"/>
                  <a:pt x="679255" y="1186512"/>
                </a:cubicBezTo>
                <a:cubicBezTo>
                  <a:pt x="664834" y="1186512"/>
                  <a:pt x="653144" y="1174822"/>
                  <a:pt x="653144" y="1160401"/>
                </a:cubicBezTo>
                <a:cubicBezTo>
                  <a:pt x="653144" y="1145980"/>
                  <a:pt x="664834" y="1134290"/>
                  <a:pt x="679255" y="1134290"/>
                </a:cubicBezTo>
                <a:close/>
                <a:moveTo>
                  <a:pt x="461541" y="1134290"/>
                </a:moveTo>
                <a:cubicBezTo>
                  <a:pt x="475962" y="1134290"/>
                  <a:pt x="487652" y="1145980"/>
                  <a:pt x="487652" y="1160401"/>
                </a:cubicBezTo>
                <a:cubicBezTo>
                  <a:pt x="487652" y="1174822"/>
                  <a:pt x="475962" y="1186512"/>
                  <a:pt x="461541" y="1186512"/>
                </a:cubicBezTo>
                <a:cubicBezTo>
                  <a:pt x="447120" y="1186512"/>
                  <a:pt x="435430" y="1174822"/>
                  <a:pt x="435430" y="1160401"/>
                </a:cubicBezTo>
                <a:cubicBezTo>
                  <a:pt x="435430" y="1145980"/>
                  <a:pt x="447120" y="1134290"/>
                  <a:pt x="461541" y="1134290"/>
                </a:cubicBezTo>
                <a:close/>
                <a:moveTo>
                  <a:pt x="243827" y="1134290"/>
                </a:moveTo>
                <a:cubicBezTo>
                  <a:pt x="258248" y="1134290"/>
                  <a:pt x="269938" y="1145980"/>
                  <a:pt x="269938" y="1160401"/>
                </a:cubicBezTo>
                <a:cubicBezTo>
                  <a:pt x="269938" y="1174822"/>
                  <a:pt x="258248" y="1186512"/>
                  <a:pt x="243827" y="1186512"/>
                </a:cubicBezTo>
                <a:cubicBezTo>
                  <a:pt x="229406" y="1186512"/>
                  <a:pt x="217716" y="1174822"/>
                  <a:pt x="217716" y="1160401"/>
                </a:cubicBezTo>
                <a:cubicBezTo>
                  <a:pt x="217716" y="1145980"/>
                  <a:pt x="229406" y="1134290"/>
                  <a:pt x="243827" y="1134290"/>
                </a:cubicBezTo>
                <a:close/>
                <a:moveTo>
                  <a:pt x="26113" y="1134290"/>
                </a:moveTo>
                <a:cubicBezTo>
                  <a:pt x="40534" y="1134290"/>
                  <a:pt x="52224" y="1145980"/>
                  <a:pt x="52224" y="1160401"/>
                </a:cubicBezTo>
                <a:cubicBezTo>
                  <a:pt x="52224" y="1174822"/>
                  <a:pt x="40534" y="1186512"/>
                  <a:pt x="26113" y="1186512"/>
                </a:cubicBezTo>
                <a:cubicBezTo>
                  <a:pt x="11692" y="1186512"/>
                  <a:pt x="2" y="1174822"/>
                  <a:pt x="2" y="1160401"/>
                </a:cubicBezTo>
                <a:cubicBezTo>
                  <a:pt x="2" y="1145980"/>
                  <a:pt x="11692" y="1134290"/>
                  <a:pt x="26113" y="1134290"/>
                </a:cubicBezTo>
                <a:close/>
                <a:moveTo>
                  <a:pt x="1550112" y="907432"/>
                </a:moveTo>
                <a:cubicBezTo>
                  <a:pt x="1564533" y="907432"/>
                  <a:pt x="1576223" y="919122"/>
                  <a:pt x="1576223" y="933543"/>
                </a:cubicBezTo>
                <a:cubicBezTo>
                  <a:pt x="1576223" y="947964"/>
                  <a:pt x="1564533" y="959654"/>
                  <a:pt x="1550112" y="959654"/>
                </a:cubicBezTo>
                <a:cubicBezTo>
                  <a:pt x="1535691" y="959654"/>
                  <a:pt x="1524001" y="947964"/>
                  <a:pt x="1524001" y="933543"/>
                </a:cubicBezTo>
                <a:cubicBezTo>
                  <a:pt x="1524001" y="919122"/>
                  <a:pt x="1535691" y="907432"/>
                  <a:pt x="1550112" y="907432"/>
                </a:cubicBezTo>
                <a:close/>
                <a:moveTo>
                  <a:pt x="1332398" y="907432"/>
                </a:moveTo>
                <a:cubicBezTo>
                  <a:pt x="1346819" y="907432"/>
                  <a:pt x="1358509" y="919122"/>
                  <a:pt x="1358509" y="933543"/>
                </a:cubicBezTo>
                <a:cubicBezTo>
                  <a:pt x="1358509" y="947964"/>
                  <a:pt x="1346819" y="959654"/>
                  <a:pt x="1332398" y="959654"/>
                </a:cubicBezTo>
                <a:cubicBezTo>
                  <a:pt x="1317977" y="959654"/>
                  <a:pt x="1306287" y="947964"/>
                  <a:pt x="1306287" y="933543"/>
                </a:cubicBezTo>
                <a:cubicBezTo>
                  <a:pt x="1306287" y="919122"/>
                  <a:pt x="1317977" y="907432"/>
                  <a:pt x="1332398" y="907432"/>
                </a:cubicBezTo>
                <a:close/>
                <a:moveTo>
                  <a:pt x="1114685" y="907432"/>
                </a:moveTo>
                <a:cubicBezTo>
                  <a:pt x="1129106" y="907432"/>
                  <a:pt x="1140796" y="919122"/>
                  <a:pt x="1140796" y="933543"/>
                </a:cubicBezTo>
                <a:cubicBezTo>
                  <a:pt x="1140796" y="947964"/>
                  <a:pt x="1129106" y="959654"/>
                  <a:pt x="1114685" y="959654"/>
                </a:cubicBezTo>
                <a:cubicBezTo>
                  <a:pt x="1100264" y="959654"/>
                  <a:pt x="1088574" y="947964"/>
                  <a:pt x="1088574" y="933543"/>
                </a:cubicBezTo>
                <a:cubicBezTo>
                  <a:pt x="1088574" y="919122"/>
                  <a:pt x="1100264" y="907432"/>
                  <a:pt x="1114685" y="907432"/>
                </a:cubicBezTo>
                <a:close/>
                <a:moveTo>
                  <a:pt x="896971" y="907432"/>
                </a:moveTo>
                <a:cubicBezTo>
                  <a:pt x="911392" y="907432"/>
                  <a:pt x="923082" y="919122"/>
                  <a:pt x="923082" y="933543"/>
                </a:cubicBezTo>
                <a:cubicBezTo>
                  <a:pt x="923082" y="947964"/>
                  <a:pt x="911392" y="959654"/>
                  <a:pt x="896971" y="959654"/>
                </a:cubicBezTo>
                <a:cubicBezTo>
                  <a:pt x="882550" y="959654"/>
                  <a:pt x="870860" y="947964"/>
                  <a:pt x="870860" y="933543"/>
                </a:cubicBezTo>
                <a:cubicBezTo>
                  <a:pt x="870860" y="919122"/>
                  <a:pt x="882550" y="907432"/>
                  <a:pt x="896971" y="907432"/>
                </a:cubicBezTo>
                <a:close/>
                <a:moveTo>
                  <a:pt x="679256" y="907432"/>
                </a:moveTo>
                <a:cubicBezTo>
                  <a:pt x="693677" y="907432"/>
                  <a:pt x="705367" y="919122"/>
                  <a:pt x="705367" y="933543"/>
                </a:cubicBezTo>
                <a:cubicBezTo>
                  <a:pt x="705367" y="947964"/>
                  <a:pt x="693677" y="959654"/>
                  <a:pt x="679256" y="959654"/>
                </a:cubicBezTo>
                <a:cubicBezTo>
                  <a:pt x="664835" y="959654"/>
                  <a:pt x="653145" y="947964"/>
                  <a:pt x="653145" y="933543"/>
                </a:cubicBezTo>
                <a:cubicBezTo>
                  <a:pt x="653145" y="919122"/>
                  <a:pt x="664835" y="907432"/>
                  <a:pt x="679256" y="907432"/>
                </a:cubicBezTo>
                <a:close/>
                <a:moveTo>
                  <a:pt x="461542" y="907432"/>
                </a:moveTo>
                <a:cubicBezTo>
                  <a:pt x="475963" y="907432"/>
                  <a:pt x="487653" y="919122"/>
                  <a:pt x="487653" y="933543"/>
                </a:cubicBezTo>
                <a:cubicBezTo>
                  <a:pt x="487653" y="947964"/>
                  <a:pt x="475963" y="959654"/>
                  <a:pt x="461542" y="959654"/>
                </a:cubicBezTo>
                <a:cubicBezTo>
                  <a:pt x="447121" y="959654"/>
                  <a:pt x="435431" y="947964"/>
                  <a:pt x="435431" y="933543"/>
                </a:cubicBezTo>
                <a:cubicBezTo>
                  <a:pt x="435431" y="919122"/>
                  <a:pt x="447121" y="907432"/>
                  <a:pt x="461542" y="907432"/>
                </a:cubicBezTo>
                <a:close/>
                <a:moveTo>
                  <a:pt x="243828" y="907432"/>
                </a:moveTo>
                <a:cubicBezTo>
                  <a:pt x="258249" y="907432"/>
                  <a:pt x="269939" y="919122"/>
                  <a:pt x="269939" y="933543"/>
                </a:cubicBezTo>
                <a:cubicBezTo>
                  <a:pt x="269939" y="947964"/>
                  <a:pt x="258249" y="959654"/>
                  <a:pt x="243828" y="959654"/>
                </a:cubicBezTo>
                <a:cubicBezTo>
                  <a:pt x="229407" y="959654"/>
                  <a:pt x="217717" y="947964"/>
                  <a:pt x="217717" y="933543"/>
                </a:cubicBezTo>
                <a:cubicBezTo>
                  <a:pt x="217717" y="919122"/>
                  <a:pt x="229407" y="907432"/>
                  <a:pt x="243828" y="907432"/>
                </a:cubicBezTo>
                <a:close/>
                <a:moveTo>
                  <a:pt x="26114" y="907432"/>
                </a:moveTo>
                <a:cubicBezTo>
                  <a:pt x="40535" y="907432"/>
                  <a:pt x="52225" y="919122"/>
                  <a:pt x="52225" y="933543"/>
                </a:cubicBezTo>
                <a:cubicBezTo>
                  <a:pt x="52225" y="947964"/>
                  <a:pt x="40535" y="959654"/>
                  <a:pt x="26114" y="959654"/>
                </a:cubicBezTo>
                <a:cubicBezTo>
                  <a:pt x="11693" y="959654"/>
                  <a:pt x="3" y="947964"/>
                  <a:pt x="3" y="933543"/>
                </a:cubicBezTo>
                <a:cubicBezTo>
                  <a:pt x="3" y="919122"/>
                  <a:pt x="11693" y="907432"/>
                  <a:pt x="26114" y="907432"/>
                </a:cubicBezTo>
                <a:close/>
                <a:moveTo>
                  <a:pt x="1550113" y="680574"/>
                </a:moveTo>
                <a:cubicBezTo>
                  <a:pt x="1564534" y="680574"/>
                  <a:pt x="1576224" y="692264"/>
                  <a:pt x="1576224" y="706685"/>
                </a:cubicBezTo>
                <a:cubicBezTo>
                  <a:pt x="1576224" y="721106"/>
                  <a:pt x="1564534" y="732796"/>
                  <a:pt x="1550113" y="732796"/>
                </a:cubicBezTo>
                <a:cubicBezTo>
                  <a:pt x="1535692" y="732796"/>
                  <a:pt x="1524002" y="721106"/>
                  <a:pt x="1524002" y="706685"/>
                </a:cubicBezTo>
                <a:cubicBezTo>
                  <a:pt x="1524002" y="692264"/>
                  <a:pt x="1535692" y="680574"/>
                  <a:pt x="1550113" y="680574"/>
                </a:cubicBezTo>
                <a:close/>
                <a:moveTo>
                  <a:pt x="1332399" y="680574"/>
                </a:moveTo>
                <a:cubicBezTo>
                  <a:pt x="1346820" y="680574"/>
                  <a:pt x="1358510" y="692264"/>
                  <a:pt x="1358510" y="706685"/>
                </a:cubicBezTo>
                <a:cubicBezTo>
                  <a:pt x="1358510" y="721106"/>
                  <a:pt x="1346820" y="732796"/>
                  <a:pt x="1332399" y="732796"/>
                </a:cubicBezTo>
                <a:cubicBezTo>
                  <a:pt x="1317978" y="732796"/>
                  <a:pt x="1306288" y="721106"/>
                  <a:pt x="1306288" y="706685"/>
                </a:cubicBezTo>
                <a:cubicBezTo>
                  <a:pt x="1306288" y="692264"/>
                  <a:pt x="1317978" y="680574"/>
                  <a:pt x="1332399" y="680574"/>
                </a:cubicBezTo>
                <a:close/>
                <a:moveTo>
                  <a:pt x="1114686" y="680574"/>
                </a:moveTo>
                <a:cubicBezTo>
                  <a:pt x="1129107" y="680574"/>
                  <a:pt x="1140797" y="692264"/>
                  <a:pt x="1140797" y="706685"/>
                </a:cubicBezTo>
                <a:cubicBezTo>
                  <a:pt x="1140797" y="721106"/>
                  <a:pt x="1129107" y="732796"/>
                  <a:pt x="1114686" y="732796"/>
                </a:cubicBezTo>
                <a:cubicBezTo>
                  <a:pt x="1100265" y="732796"/>
                  <a:pt x="1088575" y="721106"/>
                  <a:pt x="1088575" y="706685"/>
                </a:cubicBezTo>
                <a:cubicBezTo>
                  <a:pt x="1088575" y="692264"/>
                  <a:pt x="1100265" y="680574"/>
                  <a:pt x="1114686" y="680574"/>
                </a:cubicBezTo>
                <a:close/>
                <a:moveTo>
                  <a:pt x="896972" y="680574"/>
                </a:moveTo>
                <a:cubicBezTo>
                  <a:pt x="911393" y="680574"/>
                  <a:pt x="923083" y="692264"/>
                  <a:pt x="923083" y="706685"/>
                </a:cubicBezTo>
                <a:cubicBezTo>
                  <a:pt x="923083" y="721106"/>
                  <a:pt x="911393" y="732796"/>
                  <a:pt x="896972" y="732796"/>
                </a:cubicBezTo>
                <a:cubicBezTo>
                  <a:pt x="882551" y="732796"/>
                  <a:pt x="870861" y="721106"/>
                  <a:pt x="870861" y="706685"/>
                </a:cubicBezTo>
                <a:cubicBezTo>
                  <a:pt x="870861" y="692264"/>
                  <a:pt x="882551" y="680574"/>
                  <a:pt x="896972" y="680574"/>
                </a:cubicBezTo>
                <a:close/>
                <a:moveTo>
                  <a:pt x="679257" y="680574"/>
                </a:moveTo>
                <a:cubicBezTo>
                  <a:pt x="693678" y="680574"/>
                  <a:pt x="705368" y="692264"/>
                  <a:pt x="705368" y="706685"/>
                </a:cubicBezTo>
                <a:cubicBezTo>
                  <a:pt x="705368" y="721106"/>
                  <a:pt x="693678" y="732796"/>
                  <a:pt x="679257" y="732796"/>
                </a:cubicBezTo>
                <a:cubicBezTo>
                  <a:pt x="664836" y="732796"/>
                  <a:pt x="653146" y="721106"/>
                  <a:pt x="653146" y="706685"/>
                </a:cubicBezTo>
                <a:cubicBezTo>
                  <a:pt x="653146" y="692264"/>
                  <a:pt x="664836" y="680574"/>
                  <a:pt x="679257" y="680574"/>
                </a:cubicBezTo>
                <a:close/>
                <a:moveTo>
                  <a:pt x="461543" y="680574"/>
                </a:moveTo>
                <a:cubicBezTo>
                  <a:pt x="475964" y="680574"/>
                  <a:pt x="487654" y="692264"/>
                  <a:pt x="487654" y="706685"/>
                </a:cubicBezTo>
                <a:cubicBezTo>
                  <a:pt x="487654" y="721106"/>
                  <a:pt x="475964" y="732796"/>
                  <a:pt x="461543" y="732796"/>
                </a:cubicBezTo>
                <a:cubicBezTo>
                  <a:pt x="447122" y="732796"/>
                  <a:pt x="435432" y="721106"/>
                  <a:pt x="435432" y="706685"/>
                </a:cubicBezTo>
                <a:cubicBezTo>
                  <a:pt x="435432" y="692264"/>
                  <a:pt x="447122" y="680574"/>
                  <a:pt x="461543" y="680574"/>
                </a:cubicBezTo>
                <a:close/>
                <a:moveTo>
                  <a:pt x="243829" y="680574"/>
                </a:moveTo>
                <a:cubicBezTo>
                  <a:pt x="258250" y="680574"/>
                  <a:pt x="269940" y="692264"/>
                  <a:pt x="269940" y="706685"/>
                </a:cubicBezTo>
                <a:cubicBezTo>
                  <a:pt x="269940" y="721106"/>
                  <a:pt x="258250" y="732796"/>
                  <a:pt x="243829" y="732796"/>
                </a:cubicBezTo>
                <a:cubicBezTo>
                  <a:pt x="229408" y="732796"/>
                  <a:pt x="217718" y="721106"/>
                  <a:pt x="217718" y="706685"/>
                </a:cubicBezTo>
                <a:cubicBezTo>
                  <a:pt x="217718" y="692264"/>
                  <a:pt x="229408" y="680574"/>
                  <a:pt x="243829" y="680574"/>
                </a:cubicBezTo>
                <a:close/>
                <a:moveTo>
                  <a:pt x="26115" y="680574"/>
                </a:moveTo>
                <a:cubicBezTo>
                  <a:pt x="40536" y="680574"/>
                  <a:pt x="52226" y="692264"/>
                  <a:pt x="52226" y="706685"/>
                </a:cubicBezTo>
                <a:cubicBezTo>
                  <a:pt x="52226" y="721106"/>
                  <a:pt x="40536" y="732796"/>
                  <a:pt x="26115" y="732796"/>
                </a:cubicBezTo>
                <a:cubicBezTo>
                  <a:pt x="11694" y="732796"/>
                  <a:pt x="4" y="721106"/>
                  <a:pt x="4" y="706685"/>
                </a:cubicBezTo>
                <a:cubicBezTo>
                  <a:pt x="4" y="692264"/>
                  <a:pt x="11694" y="680574"/>
                  <a:pt x="26115" y="680574"/>
                </a:cubicBezTo>
                <a:close/>
                <a:moveTo>
                  <a:pt x="26116" y="453717"/>
                </a:moveTo>
                <a:cubicBezTo>
                  <a:pt x="40537" y="453717"/>
                  <a:pt x="52227" y="465407"/>
                  <a:pt x="52227" y="479827"/>
                </a:cubicBezTo>
                <a:cubicBezTo>
                  <a:pt x="52227" y="494249"/>
                  <a:pt x="40537" y="505939"/>
                  <a:pt x="26116" y="505939"/>
                </a:cubicBezTo>
                <a:cubicBezTo>
                  <a:pt x="11695" y="505939"/>
                  <a:pt x="5" y="494249"/>
                  <a:pt x="5" y="479827"/>
                </a:cubicBezTo>
                <a:cubicBezTo>
                  <a:pt x="5" y="465407"/>
                  <a:pt x="11695" y="453717"/>
                  <a:pt x="26116" y="453717"/>
                </a:cubicBezTo>
                <a:close/>
                <a:moveTo>
                  <a:pt x="243830" y="453717"/>
                </a:moveTo>
                <a:cubicBezTo>
                  <a:pt x="258251" y="453717"/>
                  <a:pt x="269941" y="465407"/>
                  <a:pt x="269941" y="479827"/>
                </a:cubicBezTo>
                <a:cubicBezTo>
                  <a:pt x="269941" y="494249"/>
                  <a:pt x="258251" y="505939"/>
                  <a:pt x="243830" y="505939"/>
                </a:cubicBezTo>
                <a:cubicBezTo>
                  <a:pt x="229409" y="505939"/>
                  <a:pt x="217719" y="494249"/>
                  <a:pt x="217719" y="479827"/>
                </a:cubicBezTo>
                <a:cubicBezTo>
                  <a:pt x="217719" y="465407"/>
                  <a:pt x="229409" y="453717"/>
                  <a:pt x="243830" y="453717"/>
                </a:cubicBezTo>
                <a:close/>
                <a:moveTo>
                  <a:pt x="461544" y="453717"/>
                </a:moveTo>
                <a:cubicBezTo>
                  <a:pt x="475965" y="453717"/>
                  <a:pt x="487655" y="465407"/>
                  <a:pt x="487655" y="479827"/>
                </a:cubicBezTo>
                <a:cubicBezTo>
                  <a:pt x="487655" y="494249"/>
                  <a:pt x="475965" y="505939"/>
                  <a:pt x="461544" y="505939"/>
                </a:cubicBezTo>
                <a:cubicBezTo>
                  <a:pt x="447123" y="505939"/>
                  <a:pt x="435433" y="494249"/>
                  <a:pt x="435433" y="479827"/>
                </a:cubicBezTo>
                <a:cubicBezTo>
                  <a:pt x="435433" y="465407"/>
                  <a:pt x="447123" y="453717"/>
                  <a:pt x="461544" y="453717"/>
                </a:cubicBezTo>
                <a:close/>
                <a:moveTo>
                  <a:pt x="679258" y="453717"/>
                </a:moveTo>
                <a:cubicBezTo>
                  <a:pt x="693679" y="453717"/>
                  <a:pt x="705369" y="465407"/>
                  <a:pt x="705369" y="479827"/>
                </a:cubicBezTo>
                <a:cubicBezTo>
                  <a:pt x="705369" y="494249"/>
                  <a:pt x="693679" y="505939"/>
                  <a:pt x="679258" y="505939"/>
                </a:cubicBezTo>
                <a:cubicBezTo>
                  <a:pt x="664837" y="505939"/>
                  <a:pt x="653147" y="494249"/>
                  <a:pt x="653147" y="479827"/>
                </a:cubicBezTo>
                <a:cubicBezTo>
                  <a:pt x="653147" y="465407"/>
                  <a:pt x="664837" y="453717"/>
                  <a:pt x="679258" y="453717"/>
                </a:cubicBezTo>
                <a:close/>
                <a:moveTo>
                  <a:pt x="896973" y="453717"/>
                </a:moveTo>
                <a:cubicBezTo>
                  <a:pt x="911394" y="453717"/>
                  <a:pt x="923084" y="465406"/>
                  <a:pt x="923084" y="479827"/>
                </a:cubicBezTo>
                <a:cubicBezTo>
                  <a:pt x="923084" y="494248"/>
                  <a:pt x="911394" y="505939"/>
                  <a:pt x="896973" y="505939"/>
                </a:cubicBezTo>
                <a:cubicBezTo>
                  <a:pt x="882552" y="505939"/>
                  <a:pt x="870862" y="494248"/>
                  <a:pt x="870862" y="479827"/>
                </a:cubicBezTo>
                <a:cubicBezTo>
                  <a:pt x="870862" y="465406"/>
                  <a:pt x="882552" y="453717"/>
                  <a:pt x="896973" y="453717"/>
                </a:cubicBezTo>
                <a:close/>
                <a:moveTo>
                  <a:pt x="1114687" y="453717"/>
                </a:moveTo>
                <a:cubicBezTo>
                  <a:pt x="1129108" y="453717"/>
                  <a:pt x="1140798" y="465406"/>
                  <a:pt x="1140798" y="479827"/>
                </a:cubicBezTo>
                <a:cubicBezTo>
                  <a:pt x="1140798" y="494248"/>
                  <a:pt x="1129108" y="505938"/>
                  <a:pt x="1114687" y="505938"/>
                </a:cubicBezTo>
                <a:cubicBezTo>
                  <a:pt x="1100266" y="505938"/>
                  <a:pt x="1088576" y="494248"/>
                  <a:pt x="1088576" y="479827"/>
                </a:cubicBezTo>
                <a:cubicBezTo>
                  <a:pt x="1088576" y="465406"/>
                  <a:pt x="1100266" y="453717"/>
                  <a:pt x="1114687" y="453717"/>
                </a:cubicBezTo>
                <a:close/>
                <a:moveTo>
                  <a:pt x="1332400" y="453716"/>
                </a:moveTo>
                <a:cubicBezTo>
                  <a:pt x="1346821" y="453716"/>
                  <a:pt x="1358511" y="465406"/>
                  <a:pt x="1358511" y="479827"/>
                </a:cubicBezTo>
                <a:cubicBezTo>
                  <a:pt x="1358511" y="494248"/>
                  <a:pt x="1346821" y="505938"/>
                  <a:pt x="1332400" y="505938"/>
                </a:cubicBezTo>
                <a:cubicBezTo>
                  <a:pt x="1317979" y="505938"/>
                  <a:pt x="1306289" y="494248"/>
                  <a:pt x="1306289" y="479827"/>
                </a:cubicBezTo>
                <a:cubicBezTo>
                  <a:pt x="1306289" y="465406"/>
                  <a:pt x="1317979" y="453716"/>
                  <a:pt x="1332400" y="453716"/>
                </a:cubicBezTo>
                <a:close/>
                <a:moveTo>
                  <a:pt x="1550114" y="453716"/>
                </a:moveTo>
                <a:cubicBezTo>
                  <a:pt x="1564535" y="453716"/>
                  <a:pt x="1576225" y="465406"/>
                  <a:pt x="1576225" y="479827"/>
                </a:cubicBezTo>
                <a:cubicBezTo>
                  <a:pt x="1576225" y="494248"/>
                  <a:pt x="1564535" y="505938"/>
                  <a:pt x="1550114" y="505938"/>
                </a:cubicBezTo>
                <a:cubicBezTo>
                  <a:pt x="1535693" y="505938"/>
                  <a:pt x="1524003" y="494248"/>
                  <a:pt x="1524003" y="479827"/>
                </a:cubicBezTo>
                <a:cubicBezTo>
                  <a:pt x="1524003" y="465406"/>
                  <a:pt x="1535693" y="453716"/>
                  <a:pt x="1550114" y="453716"/>
                </a:cubicBezTo>
                <a:close/>
                <a:moveTo>
                  <a:pt x="1114688" y="226858"/>
                </a:moveTo>
                <a:cubicBezTo>
                  <a:pt x="1129109" y="226858"/>
                  <a:pt x="1140799" y="238548"/>
                  <a:pt x="1140799" y="252969"/>
                </a:cubicBezTo>
                <a:cubicBezTo>
                  <a:pt x="1140799" y="267390"/>
                  <a:pt x="1129109" y="279080"/>
                  <a:pt x="1114688" y="279080"/>
                </a:cubicBezTo>
                <a:cubicBezTo>
                  <a:pt x="1100267" y="279080"/>
                  <a:pt x="1088577" y="267390"/>
                  <a:pt x="1088577" y="252969"/>
                </a:cubicBezTo>
                <a:cubicBezTo>
                  <a:pt x="1088577" y="238548"/>
                  <a:pt x="1100267" y="226858"/>
                  <a:pt x="1114688" y="226858"/>
                </a:cubicBezTo>
                <a:close/>
                <a:moveTo>
                  <a:pt x="896974" y="226858"/>
                </a:moveTo>
                <a:cubicBezTo>
                  <a:pt x="911395" y="226858"/>
                  <a:pt x="923085" y="238548"/>
                  <a:pt x="923085" y="252969"/>
                </a:cubicBezTo>
                <a:cubicBezTo>
                  <a:pt x="923085" y="267390"/>
                  <a:pt x="911395" y="279080"/>
                  <a:pt x="896974" y="279080"/>
                </a:cubicBezTo>
                <a:cubicBezTo>
                  <a:pt x="882553" y="279080"/>
                  <a:pt x="870863" y="267390"/>
                  <a:pt x="870863" y="252969"/>
                </a:cubicBezTo>
                <a:cubicBezTo>
                  <a:pt x="870863" y="238548"/>
                  <a:pt x="882553" y="226858"/>
                  <a:pt x="896974" y="226858"/>
                </a:cubicBezTo>
                <a:close/>
                <a:moveTo>
                  <a:pt x="679259" y="226858"/>
                </a:moveTo>
                <a:cubicBezTo>
                  <a:pt x="693680" y="226858"/>
                  <a:pt x="705370" y="238548"/>
                  <a:pt x="705370" y="252970"/>
                </a:cubicBezTo>
                <a:cubicBezTo>
                  <a:pt x="705370" y="267391"/>
                  <a:pt x="693680" y="279080"/>
                  <a:pt x="679259" y="279080"/>
                </a:cubicBezTo>
                <a:cubicBezTo>
                  <a:pt x="664838" y="279080"/>
                  <a:pt x="653148" y="267391"/>
                  <a:pt x="653148" y="252970"/>
                </a:cubicBezTo>
                <a:cubicBezTo>
                  <a:pt x="653148" y="238548"/>
                  <a:pt x="664838" y="226858"/>
                  <a:pt x="679259" y="226858"/>
                </a:cubicBezTo>
                <a:close/>
                <a:moveTo>
                  <a:pt x="461545" y="226858"/>
                </a:moveTo>
                <a:cubicBezTo>
                  <a:pt x="475966" y="226858"/>
                  <a:pt x="487656" y="238549"/>
                  <a:pt x="487656" y="252970"/>
                </a:cubicBezTo>
                <a:cubicBezTo>
                  <a:pt x="487656" y="267391"/>
                  <a:pt x="475966" y="279081"/>
                  <a:pt x="461545" y="279081"/>
                </a:cubicBezTo>
                <a:cubicBezTo>
                  <a:pt x="447124" y="279081"/>
                  <a:pt x="435434" y="267391"/>
                  <a:pt x="435434" y="252970"/>
                </a:cubicBezTo>
                <a:cubicBezTo>
                  <a:pt x="435434" y="238549"/>
                  <a:pt x="447124" y="226858"/>
                  <a:pt x="461545" y="226858"/>
                </a:cubicBezTo>
                <a:close/>
                <a:moveTo>
                  <a:pt x="243831" y="226858"/>
                </a:moveTo>
                <a:cubicBezTo>
                  <a:pt x="258252" y="226858"/>
                  <a:pt x="269942" y="238549"/>
                  <a:pt x="269942" y="252970"/>
                </a:cubicBezTo>
                <a:cubicBezTo>
                  <a:pt x="269942" y="267391"/>
                  <a:pt x="258252" y="279081"/>
                  <a:pt x="243831" y="279081"/>
                </a:cubicBezTo>
                <a:cubicBezTo>
                  <a:pt x="229410" y="279081"/>
                  <a:pt x="217720" y="267391"/>
                  <a:pt x="217720" y="252970"/>
                </a:cubicBezTo>
                <a:cubicBezTo>
                  <a:pt x="217720" y="238549"/>
                  <a:pt x="229410" y="226858"/>
                  <a:pt x="243831" y="226858"/>
                </a:cubicBezTo>
                <a:close/>
                <a:moveTo>
                  <a:pt x="26117" y="226858"/>
                </a:moveTo>
                <a:cubicBezTo>
                  <a:pt x="40538" y="226858"/>
                  <a:pt x="52228" y="238549"/>
                  <a:pt x="52228" y="252970"/>
                </a:cubicBezTo>
                <a:cubicBezTo>
                  <a:pt x="52228" y="267391"/>
                  <a:pt x="40538" y="279081"/>
                  <a:pt x="26117" y="279081"/>
                </a:cubicBezTo>
                <a:cubicBezTo>
                  <a:pt x="11696" y="279081"/>
                  <a:pt x="6" y="267391"/>
                  <a:pt x="6" y="252970"/>
                </a:cubicBezTo>
                <a:cubicBezTo>
                  <a:pt x="6" y="238549"/>
                  <a:pt x="11696" y="226858"/>
                  <a:pt x="26117" y="226858"/>
                </a:cubicBezTo>
                <a:close/>
                <a:moveTo>
                  <a:pt x="1332401" y="226858"/>
                </a:moveTo>
                <a:cubicBezTo>
                  <a:pt x="1346822" y="226858"/>
                  <a:pt x="1358512" y="238548"/>
                  <a:pt x="1358512" y="252969"/>
                </a:cubicBezTo>
                <a:cubicBezTo>
                  <a:pt x="1358512" y="267390"/>
                  <a:pt x="1346822" y="279080"/>
                  <a:pt x="1332401" y="279080"/>
                </a:cubicBezTo>
                <a:cubicBezTo>
                  <a:pt x="1317980" y="279080"/>
                  <a:pt x="1306290" y="267390"/>
                  <a:pt x="1306290" y="252969"/>
                </a:cubicBezTo>
                <a:cubicBezTo>
                  <a:pt x="1306290" y="238548"/>
                  <a:pt x="1317980" y="226858"/>
                  <a:pt x="1332401" y="226858"/>
                </a:cubicBezTo>
                <a:close/>
                <a:moveTo>
                  <a:pt x="1550115" y="226858"/>
                </a:moveTo>
                <a:cubicBezTo>
                  <a:pt x="1564536" y="226858"/>
                  <a:pt x="1576226" y="238548"/>
                  <a:pt x="1576226" y="252969"/>
                </a:cubicBezTo>
                <a:cubicBezTo>
                  <a:pt x="1576226" y="267390"/>
                  <a:pt x="1564536" y="279080"/>
                  <a:pt x="1550115" y="279080"/>
                </a:cubicBezTo>
                <a:cubicBezTo>
                  <a:pt x="1535694" y="279080"/>
                  <a:pt x="1524004" y="267390"/>
                  <a:pt x="1524004" y="252969"/>
                </a:cubicBezTo>
                <a:cubicBezTo>
                  <a:pt x="1524004" y="238548"/>
                  <a:pt x="1535694" y="226858"/>
                  <a:pt x="1550115" y="226858"/>
                </a:cubicBezTo>
                <a:close/>
                <a:moveTo>
                  <a:pt x="26117" y="2"/>
                </a:moveTo>
                <a:cubicBezTo>
                  <a:pt x="40538" y="2"/>
                  <a:pt x="52228" y="11692"/>
                  <a:pt x="52228" y="26113"/>
                </a:cubicBezTo>
                <a:cubicBezTo>
                  <a:pt x="52228" y="40534"/>
                  <a:pt x="40538" y="52224"/>
                  <a:pt x="26117" y="52224"/>
                </a:cubicBezTo>
                <a:cubicBezTo>
                  <a:pt x="11696" y="52224"/>
                  <a:pt x="6" y="40534"/>
                  <a:pt x="6" y="26113"/>
                </a:cubicBezTo>
                <a:cubicBezTo>
                  <a:pt x="6" y="11692"/>
                  <a:pt x="11696" y="2"/>
                  <a:pt x="26117" y="2"/>
                </a:cubicBezTo>
                <a:close/>
                <a:moveTo>
                  <a:pt x="243831" y="1"/>
                </a:moveTo>
                <a:cubicBezTo>
                  <a:pt x="258252" y="1"/>
                  <a:pt x="269942" y="11691"/>
                  <a:pt x="269942" y="26112"/>
                </a:cubicBezTo>
                <a:cubicBezTo>
                  <a:pt x="269942" y="40534"/>
                  <a:pt x="258252" y="52224"/>
                  <a:pt x="243831" y="52224"/>
                </a:cubicBezTo>
                <a:cubicBezTo>
                  <a:pt x="229410" y="52224"/>
                  <a:pt x="217720" y="40534"/>
                  <a:pt x="217720" y="26112"/>
                </a:cubicBezTo>
                <a:cubicBezTo>
                  <a:pt x="217720" y="11691"/>
                  <a:pt x="229410" y="1"/>
                  <a:pt x="243831" y="1"/>
                </a:cubicBezTo>
                <a:close/>
                <a:moveTo>
                  <a:pt x="461545" y="1"/>
                </a:moveTo>
                <a:cubicBezTo>
                  <a:pt x="475966" y="1"/>
                  <a:pt x="487656" y="11691"/>
                  <a:pt x="487656" y="26112"/>
                </a:cubicBezTo>
                <a:cubicBezTo>
                  <a:pt x="487656" y="40534"/>
                  <a:pt x="475966" y="52224"/>
                  <a:pt x="461545" y="52224"/>
                </a:cubicBezTo>
                <a:cubicBezTo>
                  <a:pt x="447124" y="52224"/>
                  <a:pt x="435434" y="40534"/>
                  <a:pt x="435434" y="26112"/>
                </a:cubicBezTo>
                <a:cubicBezTo>
                  <a:pt x="435434" y="11691"/>
                  <a:pt x="447124" y="1"/>
                  <a:pt x="461545" y="1"/>
                </a:cubicBezTo>
                <a:close/>
                <a:moveTo>
                  <a:pt x="679259" y="1"/>
                </a:moveTo>
                <a:cubicBezTo>
                  <a:pt x="693680" y="1"/>
                  <a:pt x="705370" y="11691"/>
                  <a:pt x="705370" y="26112"/>
                </a:cubicBezTo>
                <a:cubicBezTo>
                  <a:pt x="705370" y="40533"/>
                  <a:pt x="693680" y="52223"/>
                  <a:pt x="679259" y="52223"/>
                </a:cubicBezTo>
                <a:cubicBezTo>
                  <a:pt x="664838" y="52223"/>
                  <a:pt x="653148" y="40533"/>
                  <a:pt x="653148" y="26112"/>
                </a:cubicBezTo>
                <a:cubicBezTo>
                  <a:pt x="653148" y="11691"/>
                  <a:pt x="664838" y="1"/>
                  <a:pt x="679259" y="1"/>
                </a:cubicBezTo>
                <a:close/>
                <a:moveTo>
                  <a:pt x="896974" y="1"/>
                </a:moveTo>
                <a:cubicBezTo>
                  <a:pt x="911395" y="1"/>
                  <a:pt x="923085" y="11691"/>
                  <a:pt x="923085" y="26112"/>
                </a:cubicBezTo>
                <a:cubicBezTo>
                  <a:pt x="923085" y="40533"/>
                  <a:pt x="911395" y="52223"/>
                  <a:pt x="896974" y="52223"/>
                </a:cubicBezTo>
                <a:cubicBezTo>
                  <a:pt x="882553" y="52223"/>
                  <a:pt x="870863" y="40533"/>
                  <a:pt x="870863" y="26112"/>
                </a:cubicBezTo>
                <a:cubicBezTo>
                  <a:pt x="870863" y="11691"/>
                  <a:pt x="882553" y="1"/>
                  <a:pt x="896974" y="1"/>
                </a:cubicBezTo>
                <a:close/>
                <a:moveTo>
                  <a:pt x="1114688" y="1"/>
                </a:moveTo>
                <a:cubicBezTo>
                  <a:pt x="1129109" y="1"/>
                  <a:pt x="1140799" y="11691"/>
                  <a:pt x="1140799" y="26112"/>
                </a:cubicBezTo>
                <a:cubicBezTo>
                  <a:pt x="1140799" y="40533"/>
                  <a:pt x="1129109" y="52223"/>
                  <a:pt x="1114688" y="52223"/>
                </a:cubicBezTo>
                <a:cubicBezTo>
                  <a:pt x="1100267" y="52223"/>
                  <a:pt x="1088577" y="40533"/>
                  <a:pt x="1088577" y="26112"/>
                </a:cubicBezTo>
                <a:cubicBezTo>
                  <a:pt x="1088577" y="11691"/>
                  <a:pt x="1100267" y="1"/>
                  <a:pt x="1114688" y="1"/>
                </a:cubicBezTo>
                <a:close/>
                <a:moveTo>
                  <a:pt x="1332401" y="0"/>
                </a:moveTo>
                <a:cubicBezTo>
                  <a:pt x="1346822" y="0"/>
                  <a:pt x="1358512" y="11690"/>
                  <a:pt x="1358512" y="26111"/>
                </a:cubicBezTo>
                <a:cubicBezTo>
                  <a:pt x="1358512" y="40533"/>
                  <a:pt x="1346822" y="52223"/>
                  <a:pt x="1332401" y="52223"/>
                </a:cubicBezTo>
                <a:cubicBezTo>
                  <a:pt x="1317980" y="52223"/>
                  <a:pt x="1306290" y="40533"/>
                  <a:pt x="1306290" y="26111"/>
                </a:cubicBezTo>
                <a:cubicBezTo>
                  <a:pt x="1306290" y="11690"/>
                  <a:pt x="1317980" y="0"/>
                  <a:pt x="1332401" y="0"/>
                </a:cubicBezTo>
                <a:close/>
                <a:moveTo>
                  <a:pt x="1550115" y="0"/>
                </a:moveTo>
                <a:cubicBezTo>
                  <a:pt x="1564536" y="0"/>
                  <a:pt x="1576226" y="11690"/>
                  <a:pt x="1576226" y="26111"/>
                </a:cubicBezTo>
                <a:cubicBezTo>
                  <a:pt x="1576226" y="40532"/>
                  <a:pt x="1564536" y="52222"/>
                  <a:pt x="1550115" y="52222"/>
                </a:cubicBezTo>
                <a:cubicBezTo>
                  <a:pt x="1535694" y="52222"/>
                  <a:pt x="1524004" y="40532"/>
                  <a:pt x="1524004" y="26111"/>
                </a:cubicBezTo>
                <a:cubicBezTo>
                  <a:pt x="1524004" y="11690"/>
                  <a:pt x="1535694" y="0"/>
                  <a:pt x="1550115" y="0"/>
                </a:cubicBezTo>
                <a:close/>
              </a:path>
            </a:pathLst>
          </a:custGeom>
          <a:solidFill>
            <a:srgbClr val="FFCF01">
              <a:alpha val="8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id-ID"/>
          </a:p>
        </p:txBody>
      </p:sp>
      <p:sp>
        <p:nvSpPr>
          <p:cNvPr id="12" name="Picture Placeholder 3">
            <a:extLst>
              <a:ext uri="{FF2B5EF4-FFF2-40B4-BE49-F238E27FC236}">
                <a16:creationId xmlns:a16="http://schemas.microsoft.com/office/drawing/2014/main" id="{624CD09F-64CC-4C2E-BF83-15CAD5B9581A}"/>
              </a:ext>
            </a:extLst>
          </p:cNvPr>
          <p:cNvSpPr>
            <a:spLocks noGrp="1"/>
          </p:cNvSpPr>
          <p:nvPr>
            <p:ph type="pic" sz="quarter" idx="13"/>
          </p:nvPr>
        </p:nvSpPr>
        <p:spPr>
          <a:xfrm>
            <a:off x="7010400" y="2009776"/>
            <a:ext cx="1876424" cy="1327426"/>
          </a:xfrm>
          <a:prstGeom prst="roundRect">
            <a:avLst>
              <a:gd name="adj" fmla="val 9432"/>
            </a:avLst>
          </a:prstGeom>
          <a:pattFill prst="ltUpDiag">
            <a:fgClr>
              <a:schemeClr val="accent1"/>
            </a:fgClr>
            <a:bgClr>
              <a:schemeClr val="bg1"/>
            </a:bgClr>
          </a:pattFill>
          <a:ln w="76200">
            <a:solidFill>
              <a:schemeClr val="bg1"/>
            </a:solidFill>
          </a:ln>
          <a:effectLst>
            <a:outerShdw blurRad="508000" dist="381000" dir="5400000" sx="85000" sy="85000" algn="t" rotWithShape="0">
              <a:prstClr val="black">
                <a:alpha val="20000"/>
              </a:prstClr>
            </a:outerShdw>
          </a:effectLst>
        </p:spPr>
        <p:txBody>
          <a:bodyPr>
            <a:noAutofit/>
          </a:bodyPr>
          <a:lstStyle>
            <a:lvl1pPr>
              <a:defRPr sz="1000">
                <a:latin typeface="Arial" panose="020B0604020202020204" pitchFamily="34" charset="0"/>
                <a:cs typeface="Arial" panose="020B0604020202020204" pitchFamily="34" charset="0"/>
              </a:defRPr>
            </a:lvl1pPr>
          </a:lstStyle>
          <a:p>
            <a:endParaRPr lang="en-ID"/>
          </a:p>
        </p:txBody>
      </p:sp>
      <p:sp>
        <p:nvSpPr>
          <p:cNvPr id="13" name="Picture Placeholder 3">
            <a:extLst>
              <a:ext uri="{FF2B5EF4-FFF2-40B4-BE49-F238E27FC236}">
                <a16:creationId xmlns:a16="http://schemas.microsoft.com/office/drawing/2014/main" id="{A3BD081D-01B5-4106-AB6C-B1CE83A21AE3}"/>
              </a:ext>
            </a:extLst>
          </p:cNvPr>
          <p:cNvSpPr>
            <a:spLocks noGrp="1"/>
          </p:cNvSpPr>
          <p:nvPr>
            <p:ph type="pic" sz="quarter" idx="14"/>
          </p:nvPr>
        </p:nvSpPr>
        <p:spPr>
          <a:xfrm>
            <a:off x="9906000" y="2009776"/>
            <a:ext cx="1876424" cy="1327426"/>
          </a:xfrm>
          <a:prstGeom prst="roundRect">
            <a:avLst>
              <a:gd name="adj" fmla="val 9432"/>
            </a:avLst>
          </a:prstGeom>
          <a:pattFill prst="ltUpDiag">
            <a:fgClr>
              <a:schemeClr val="accent1"/>
            </a:fgClr>
            <a:bgClr>
              <a:schemeClr val="bg1"/>
            </a:bgClr>
          </a:pattFill>
          <a:ln w="76200">
            <a:solidFill>
              <a:schemeClr val="bg1"/>
            </a:solidFill>
          </a:ln>
          <a:effectLst>
            <a:outerShdw blurRad="508000" dist="381000" dir="5400000" sx="85000" sy="85000" algn="t" rotWithShape="0">
              <a:prstClr val="black">
                <a:alpha val="20000"/>
              </a:prstClr>
            </a:outerShdw>
          </a:effectLst>
        </p:spPr>
        <p:txBody>
          <a:bodyPr>
            <a:noAutofit/>
          </a:bodyPr>
          <a:lstStyle>
            <a:lvl1pPr>
              <a:defRPr sz="1000">
                <a:latin typeface="Arial" panose="020B0604020202020204" pitchFamily="34" charset="0"/>
                <a:cs typeface="Arial" panose="020B0604020202020204" pitchFamily="34" charset="0"/>
              </a:defRPr>
            </a:lvl1pPr>
          </a:lstStyle>
          <a:p>
            <a:endParaRPr lang="en-ID"/>
          </a:p>
        </p:txBody>
      </p:sp>
    </p:spTree>
    <p:extLst>
      <p:ext uri="{BB962C8B-B14F-4D97-AF65-F5344CB8AC3E}">
        <p14:creationId xmlns:p14="http://schemas.microsoft.com/office/powerpoint/2010/main" val="347192076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7_Title Slide">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4AAC6336-32C7-45F7-98D4-60D61690B59B}"/>
              </a:ext>
            </a:extLst>
          </p:cNvPr>
          <p:cNvSpPr>
            <a:spLocks noGrp="1"/>
          </p:cNvSpPr>
          <p:nvPr>
            <p:ph type="pic" sz="quarter" idx="10"/>
          </p:nvPr>
        </p:nvSpPr>
        <p:spPr>
          <a:xfrm>
            <a:off x="4418347" y="0"/>
            <a:ext cx="4141454" cy="6869409"/>
          </a:xfrm>
          <a:pattFill prst="ltUpDiag">
            <a:fgClr>
              <a:schemeClr val="accent1"/>
            </a:fgClr>
            <a:bgClr>
              <a:schemeClr val="bg1"/>
            </a:bgClr>
          </a:pattFill>
        </p:spPr>
        <p:txBody>
          <a:bodyPr>
            <a:noAutofit/>
          </a:bodyPr>
          <a:lstStyle>
            <a:lvl1pPr>
              <a:defRPr sz="1000">
                <a:latin typeface="Arial" panose="020B0604020202020204" pitchFamily="34" charset="0"/>
                <a:cs typeface="Arial" panose="020B0604020202020204" pitchFamily="34" charset="0"/>
              </a:defRPr>
            </a:lvl1pPr>
          </a:lstStyle>
          <a:p>
            <a:endParaRPr lang="en-ID"/>
          </a:p>
        </p:txBody>
      </p:sp>
    </p:spTree>
    <p:extLst>
      <p:ext uri="{BB962C8B-B14F-4D97-AF65-F5344CB8AC3E}">
        <p14:creationId xmlns:p14="http://schemas.microsoft.com/office/powerpoint/2010/main" val="189879444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6_Title Slid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90A22B60-CCC6-404C-9F92-AC4C758F960E}"/>
              </a:ext>
            </a:extLst>
          </p:cNvPr>
          <p:cNvSpPr/>
          <p:nvPr userDrawn="1"/>
        </p:nvSpPr>
        <p:spPr>
          <a:xfrm>
            <a:off x="0" y="0"/>
            <a:ext cx="12191999" cy="6858000"/>
          </a:xfrm>
          <a:prstGeom prst="rect">
            <a:avLst/>
          </a:prstGeom>
          <a:solidFill>
            <a:srgbClr val="FFCF01">
              <a:alpha val="9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p>
        </p:txBody>
      </p:sp>
      <p:pic>
        <p:nvPicPr>
          <p:cNvPr id="5" name="Graphic 4">
            <a:extLst>
              <a:ext uri="{FF2B5EF4-FFF2-40B4-BE49-F238E27FC236}">
                <a16:creationId xmlns:a16="http://schemas.microsoft.com/office/drawing/2014/main" id="{B4283B7D-88BC-4EBA-9517-CFE7A772A2A6}"/>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290362" y="2722899"/>
            <a:ext cx="4863906" cy="4132915"/>
          </a:xfrm>
          <a:prstGeom prst="rect">
            <a:avLst/>
          </a:prstGeom>
        </p:spPr>
      </p:pic>
      <p:sp>
        <p:nvSpPr>
          <p:cNvPr id="12" name="Picture Placeholder 3">
            <a:extLst>
              <a:ext uri="{FF2B5EF4-FFF2-40B4-BE49-F238E27FC236}">
                <a16:creationId xmlns:a16="http://schemas.microsoft.com/office/drawing/2014/main" id="{4FB762F6-6FC9-4F42-BD07-897F8275D0F1}"/>
              </a:ext>
            </a:extLst>
          </p:cNvPr>
          <p:cNvSpPr>
            <a:spLocks noGrp="1"/>
          </p:cNvSpPr>
          <p:nvPr>
            <p:ph type="pic" sz="quarter" idx="11"/>
          </p:nvPr>
        </p:nvSpPr>
        <p:spPr>
          <a:xfrm>
            <a:off x="1261569" y="4121252"/>
            <a:ext cx="1579751" cy="1579751"/>
          </a:xfrm>
          <a:prstGeom prst="roundRect">
            <a:avLst>
              <a:gd name="adj" fmla="val 9432"/>
            </a:avLst>
          </a:prstGeom>
          <a:pattFill prst="ltUpDiag">
            <a:fgClr>
              <a:schemeClr val="accent1"/>
            </a:fgClr>
            <a:bgClr>
              <a:schemeClr val="bg1"/>
            </a:bgClr>
          </a:pattFill>
          <a:effectLst>
            <a:outerShdw blurRad="508000" dist="381000" dir="5400000" sx="85000" sy="85000" algn="t" rotWithShape="0">
              <a:prstClr val="black">
                <a:alpha val="20000"/>
              </a:prstClr>
            </a:outerShdw>
          </a:effectLst>
        </p:spPr>
        <p:txBody>
          <a:bodyPr>
            <a:noAutofit/>
          </a:bodyPr>
          <a:lstStyle>
            <a:lvl1pPr>
              <a:defRPr sz="1000">
                <a:latin typeface="Arial" panose="020B0604020202020204" pitchFamily="34" charset="0"/>
                <a:cs typeface="Arial" panose="020B0604020202020204" pitchFamily="34" charset="0"/>
              </a:defRPr>
            </a:lvl1pPr>
          </a:lstStyle>
          <a:p>
            <a:endParaRPr lang="en-ID"/>
          </a:p>
        </p:txBody>
      </p:sp>
      <p:sp>
        <p:nvSpPr>
          <p:cNvPr id="27" name="Picture Placeholder 26">
            <a:extLst>
              <a:ext uri="{FF2B5EF4-FFF2-40B4-BE49-F238E27FC236}">
                <a16:creationId xmlns:a16="http://schemas.microsoft.com/office/drawing/2014/main" id="{DD3BC855-6A52-4BF1-AE09-373A360BDDCD}"/>
              </a:ext>
            </a:extLst>
          </p:cNvPr>
          <p:cNvSpPr>
            <a:spLocks noGrp="1"/>
          </p:cNvSpPr>
          <p:nvPr>
            <p:ph type="pic" sz="quarter" idx="10"/>
          </p:nvPr>
        </p:nvSpPr>
        <p:spPr>
          <a:xfrm>
            <a:off x="7171051" y="685800"/>
            <a:ext cx="4683110" cy="5486400"/>
          </a:xfrm>
          <a:custGeom>
            <a:avLst/>
            <a:gdLst>
              <a:gd name="connsiteX0" fmla="*/ 2800558 w 3457146"/>
              <a:gd name="connsiteY0" fmla="*/ 1249822 h 4050147"/>
              <a:gd name="connsiteX1" fmla="*/ 2800558 w 3457146"/>
              <a:gd name="connsiteY1" fmla="*/ 2800223 h 4050147"/>
              <a:gd name="connsiteX2" fmla="*/ 2199383 w 3457146"/>
              <a:gd name="connsiteY2" fmla="*/ 2198936 h 4050147"/>
              <a:gd name="connsiteX3" fmla="*/ 2199383 w 3457146"/>
              <a:gd name="connsiteY3" fmla="*/ 1850997 h 4050147"/>
              <a:gd name="connsiteX4" fmla="*/ 2025233 w 3457146"/>
              <a:gd name="connsiteY4" fmla="*/ 1 h 4050147"/>
              <a:gd name="connsiteX5" fmla="*/ 3457146 w 3457146"/>
              <a:gd name="connsiteY5" fmla="*/ 593224 h 4050147"/>
              <a:gd name="connsiteX6" fmla="*/ 2800446 w 3457146"/>
              <a:gd name="connsiteY6" fmla="*/ 1249813 h 4050147"/>
              <a:gd name="connsiteX7" fmla="*/ 2025140 w 3457146"/>
              <a:gd name="connsiteY7" fmla="*/ 928674 h 4050147"/>
              <a:gd name="connsiteX8" fmla="*/ 928796 w 3457146"/>
              <a:gd name="connsiteY8" fmla="*/ 2025083 h 4050147"/>
              <a:gd name="connsiteX9" fmla="*/ 2025251 w 3457146"/>
              <a:gd name="connsiteY9" fmla="*/ 3121362 h 4050147"/>
              <a:gd name="connsiteX10" fmla="*/ 2800557 w 3457146"/>
              <a:gd name="connsiteY10" fmla="*/ 2800223 h 4050147"/>
              <a:gd name="connsiteX11" fmla="*/ 3457146 w 3457146"/>
              <a:gd name="connsiteY11" fmla="*/ 3456914 h 4050147"/>
              <a:gd name="connsiteX12" fmla="*/ 3456934 w 3457146"/>
              <a:gd name="connsiteY12" fmla="*/ 3457108 h 4050147"/>
              <a:gd name="connsiteX13" fmla="*/ 593031 w 3457146"/>
              <a:gd name="connsiteY13" fmla="*/ 3456914 h 4050147"/>
              <a:gd name="connsiteX14" fmla="*/ 593244 w 3457146"/>
              <a:gd name="connsiteY14" fmla="*/ 593039 h 4050147"/>
              <a:gd name="connsiteX15" fmla="*/ 2025233 w 3457146"/>
              <a:gd name="connsiteY15" fmla="*/ 1 h 40501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457146" h="4050147">
                <a:moveTo>
                  <a:pt x="2800558" y="1249822"/>
                </a:moveTo>
                <a:cubicBezTo>
                  <a:pt x="3228675" y="1677958"/>
                  <a:pt x="3228675" y="2372087"/>
                  <a:pt x="2800558" y="2800223"/>
                </a:cubicBezTo>
                <a:lnTo>
                  <a:pt x="2199383" y="2198936"/>
                </a:lnTo>
                <a:cubicBezTo>
                  <a:pt x="2103404" y="2102819"/>
                  <a:pt x="2103404" y="1947115"/>
                  <a:pt x="2199383" y="1850997"/>
                </a:cubicBezTo>
                <a:close/>
                <a:moveTo>
                  <a:pt x="2025233" y="1"/>
                </a:moveTo>
                <a:cubicBezTo>
                  <a:pt x="2543498" y="36"/>
                  <a:pt x="3061750" y="197781"/>
                  <a:pt x="3457146" y="593224"/>
                </a:cubicBezTo>
                <a:lnTo>
                  <a:pt x="2800446" y="1249813"/>
                </a:lnTo>
                <a:cubicBezTo>
                  <a:pt x="2594825" y="1044182"/>
                  <a:pt x="2315963" y="928655"/>
                  <a:pt x="2025140" y="928674"/>
                </a:cubicBezTo>
                <a:cubicBezTo>
                  <a:pt x="1419588" y="928711"/>
                  <a:pt x="928796" y="1419578"/>
                  <a:pt x="928796" y="2025083"/>
                </a:cubicBezTo>
                <a:cubicBezTo>
                  <a:pt x="928907" y="2630578"/>
                  <a:pt x="1419801" y="3121399"/>
                  <a:pt x="2025251" y="3121362"/>
                </a:cubicBezTo>
                <a:cubicBezTo>
                  <a:pt x="2316176" y="3121778"/>
                  <a:pt x="2595149" y="3006196"/>
                  <a:pt x="2800557" y="2800223"/>
                </a:cubicBezTo>
                <a:lnTo>
                  <a:pt x="3457146" y="3456914"/>
                </a:lnTo>
                <a:cubicBezTo>
                  <a:pt x="3457035" y="3456979"/>
                  <a:pt x="3457035" y="3457043"/>
                  <a:pt x="3456934" y="3457108"/>
                </a:cubicBezTo>
                <a:cubicBezTo>
                  <a:pt x="2666039" y="4247901"/>
                  <a:pt x="1383815" y="4247818"/>
                  <a:pt x="593031" y="3456914"/>
                </a:cubicBezTo>
                <a:cubicBezTo>
                  <a:pt x="-197763" y="2666019"/>
                  <a:pt x="-197661" y="1383823"/>
                  <a:pt x="593244" y="593039"/>
                </a:cubicBezTo>
                <a:cubicBezTo>
                  <a:pt x="988691" y="197642"/>
                  <a:pt x="1506969" y="-33"/>
                  <a:pt x="2025233" y="1"/>
                </a:cubicBezTo>
                <a:close/>
              </a:path>
            </a:pathLst>
          </a:custGeom>
          <a:pattFill prst="ltUpDiag">
            <a:fgClr>
              <a:schemeClr val="accent1"/>
            </a:fgClr>
            <a:bgClr>
              <a:schemeClr val="bg1"/>
            </a:bgClr>
          </a:pattFill>
          <a:effectLst>
            <a:innerShdw blurRad="533400" dist="266700" dir="13500000">
              <a:prstClr val="black">
                <a:alpha val="50000"/>
              </a:prstClr>
            </a:innerShdw>
          </a:effectLst>
        </p:spPr>
        <p:txBody>
          <a:bodyPr wrap="square">
            <a:noAutofit/>
          </a:bodyPr>
          <a:lstStyle>
            <a:lvl1pPr>
              <a:defRPr sz="1000">
                <a:latin typeface="Arial" panose="020B0604020202020204" pitchFamily="34" charset="0"/>
                <a:cs typeface="Arial" panose="020B0604020202020204" pitchFamily="34" charset="0"/>
              </a:defRPr>
            </a:lvl1pPr>
          </a:lstStyle>
          <a:p>
            <a:endParaRPr lang="en-ID"/>
          </a:p>
        </p:txBody>
      </p:sp>
    </p:spTree>
    <p:extLst>
      <p:ext uri="{BB962C8B-B14F-4D97-AF65-F5344CB8AC3E}">
        <p14:creationId xmlns:p14="http://schemas.microsoft.com/office/powerpoint/2010/main" val="80089484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5_Title Sl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E876F948-BA86-4414-9EAB-A3C7EC5BC699}"/>
              </a:ext>
            </a:extLst>
          </p:cNvPr>
          <p:cNvSpPr/>
          <p:nvPr userDrawn="1"/>
        </p:nvSpPr>
        <p:spPr>
          <a:xfrm>
            <a:off x="7598001" y="0"/>
            <a:ext cx="4593999" cy="6858000"/>
          </a:xfrm>
          <a:prstGeom prst="rect">
            <a:avLst/>
          </a:prstGeom>
          <a:solidFill>
            <a:srgbClr val="2C292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p>
        </p:txBody>
      </p:sp>
      <p:sp>
        <p:nvSpPr>
          <p:cNvPr id="5" name="Picture Placeholder 3">
            <a:extLst>
              <a:ext uri="{FF2B5EF4-FFF2-40B4-BE49-F238E27FC236}">
                <a16:creationId xmlns:a16="http://schemas.microsoft.com/office/drawing/2014/main" id="{5031D170-D6C1-4674-9CA0-329BE34784C0}"/>
              </a:ext>
            </a:extLst>
          </p:cNvPr>
          <p:cNvSpPr>
            <a:spLocks noGrp="1"/>
          </p:cNvSpPr>
          <p:nvPr>
            <p:ph type="pic" sz="quarter" idx="10"/>
          </p:nvPr>
        </p:nvSpPr>
        <p:spPr>
          <a:xfrm>
            <a:off x="6581056" y="1720204"/>
            <a:ext cx="5610944" cy="3417591"/>
          </a:xfrm>
          <a:pattFill prst="ltUpDiag">
            <a:fgClr>
              <a:schemeClr val="accent1"/>
            </a:fgClr>
            <a:bgClr>
              <a:schemeClr val="bg1"/>
            </a:bgClr>
          </a:pattFill>
        </p:spPr>
        <p:txBody>
          <a:bodyPr>
            <a:noAutofit/>
          </a:bodyPr>
          <a:lstStyle>
            <a:lvl1pPr>
              <a:defRPr sz="1000">
                <a:latin typeface="Arial" panose="020B0604020202020204" pitchFamily="34" charset="0"/>
                <a:cs typeface="Arial" panose="020B0604020202020204" pitchFamily="34" charset="0"/>
              </a:defRPr>
            </a:lvl1pPr>
          </a:lstStyle>
          <a:p>
            <a:endParaRPr lang="en-ID"/>
          </a:p>
        </p:txBody>
      </p:sp>
      <p:sp>
        <p:nvSpPr>
          <p:cNvPr id="4" name="Freeform: Shape 3">
            <a:extLst>
              <a:ext uri="{FF2B5EF4-FFF2-40B4-BE49-F238E27FC236}">
                <a16:creationId xmlns:a16="http://schemas.microsoft.com/office/drawing/2014/main" id="{AF6AD31B-B937-480A-A4C3-128A153EF854}"/>
              </a:ext>
            </a:extLst>
          </p:cNvPr>
          <p:cNvSpPr/>
          <p:nvPr userDrawn="1"/>
        </p:nvSpPr>
        <p:spPr>
          <a:xfrm>
            <a:off x="11155293" y="224519"/>
            <a:ext cx="782751" cy="814534"/>
          </a:xfrm>
          <a:custGeom>
            <a:avLst/>
            <a:gdLst>
              <a:gd name="connsiteX0" fmla="*/ 1550109 w 1576226"/>
              <a:gd name="connsiteY0" fmla="*/ 1588006 h 1640228"/>
              <a:gd name="connsiteX1" fmla="*/ 1576220 w 1576226"/>
              <a:gd name="connsiteY1" fmla="*/ 1614117 h 1640228"/>
              <a:gd name="connsiteX2" fmla="*/ 1550109 w 1576226"/>
              <a:gd name="connsiteY2" fmla="*/ 1640228 h 1640228"/>
              <a:gd name="connsiteX3" fmla="*/ 1523998 w 1576226"/>
              <a:gd name="connsiteY3" fmla="*/ 1614117 h 1640228"/>
              <a:gd name="connsiteX4" fmla="*/ 1550109 w 1576226"/>
              <a:gd name="connsiteY4" fmla="*/ 1588006 h 1640228"/>
              <a:gd name="connsiteX5" fmla="*/ 1332395 w 1576226"/>
              <a:gd name="connsiteY5" fmla="*/ 1588006 h 1640228"/>
              <a:gd name="connsiteX6" fmla="*/ 1358506 w 1576226"/>
              <a:gd name="connsiteY6" fmla="*/ 1614117 h 1640228"/>
              <a:gd name="connsiteX7" fmla="*/ 1332395 w 1576226"/>
              <a:gd name="connsiteY7" fmla="*/ 1640228 h 1640228"/>
              <a:gd name="connsiteX8" fmla="*/ 1306284 w 1576226"/>
              <a:gd name="connsiteY8" fmla="*/ 1614117 h 1640228"/>
              <a:gd name="connsiteX9" fmla="*/ 1332395 w 1576226"/>
              <a:gd name="connsiteY9" fmla="*/ 1588006 h 1640228"/>
              <a:gd name="connsiteX10" fmla="*/ 1114682 w 1576226"/>
              <a:gd name="connsiteY10" fmla="*/ 1588006 h 1640228"/>
              <a:gd name="connsiteX11" fmla="*/ 1140793 w 1576226"/>
              <a:gd name="connsiteY11" fmla="*/ 1614117 h 1640228"/>
              <a:gd name="connsiteX12" fmla="*/ 1114682 w 1576226"/>
              <a:gd name="connsiteY12" fmla="*/ 1640228 h 1640228"/>
              <a:gd name="connsiteX13" fmla="*/ 1088571 w 1576226"/>
              <a:gd name="connsiteY13" fmla="*/ 1614117 h 1640228"/>
              <a:gd name="connsiteX14" fmla="*/ 1114682 w 1576226"/>
              <a:gd name="connsiteY14" fmla="*/ 1588006 h 1640228"/>
              <a:gd name="connsiteX15" fmla="*/ 896968 w 1576226"/>
              <a:gd name="connsiteY15" fmla="*/ 1588006 h 1640228"/>
              <a:gd name="connsiteX16" fmla="*/ 923079 w 1576226"/>
              <a:gd name="connsiteY16" fmla="*/ 1614117 h 1640228"/>
              <a:gd name="connsiteX17" fmla="*/ 896968 w 1576226"/>
              <a:gd name="connsiteY17" fmla="*/ 1640228 h 1640228"/>
              <a:gd name="connsiteX18" fmla="*/ 870857 w 1576226"/>
              <a:gd name="connsiteY18" fmla="*/ 1614117 h 1640228"/>
              <a:gd name="connsiteX19" fmla="*/ 896968 w 1576226"/>
              <a:gd name="connsiteY19" fmla="*/ 1588006 h 1640228"/>
              <a:gd name="connsiteX20" fmla="*/ 679253 w 1576226"/>
              <a:gd name="connsiteY20" fmla="*/ 1588006 h 1640228"/>
              <a:gd name="connsiteX21" fmla="*/ 705364 w 1576226"/>
              <a:gd name="connsiteY21" fmla="*/ 1614117 h 1640228"/>
              <a:gd name="connsiteX22" fmla="*/ 679253 w 1576226"/>
              <a:gd name="connsiteY22" fmla="*/ 1640228 h 1640228"/>
              <a:gd name="connsiteX23" fmla="*/ 653142 w 1576226"/>
              <a:gd name="connsiteY23" fmla="*/ 1614117 h 1640228"/>
              <a:gd name="connsiteX24" fmla="*/ 679253 w 1576226"/>
              <a:gd name="connsiteY24" fmla="*/ 1588006 h 1640228"/>
              <a:gd name="connsiteX25" fmla="*/ 461539 w 1576226"/>
              <a:gd name="connsiteY25" fmla="*/ 1588006 h 1640228"/>
              <a:gd name="connsiteX26" fmla="*/ 487650 w 1576226"/>
              <a:gd name="connsiteY26" fmla="*/ 1614117 h 1640228"/>
              <a:gd name="connsiteX27" fmla="*/ 461539 w 1576226"/>
              <a:gd name="connsiteY27" fmla="*/ 1640228 h 1640228"/>
              <a:gd name="connsiteX28" fmla="*/ 435428 w 1576226"/>
              <a:gd name="connsiteY28" fmla="*/ 1614117 h 1640228"/>
              <a:gd name="connsiteX29" fmla="*/ 461539 w 1576226"/>
              <a:gd name="connsiteY29" fmla="*/ 1588006 h 1640228"/>
              <a:gd name="connsiteX30" fmla="*/ 243825 w 1576226"/>
              <a:gd name="connsiteY30" fmla="*/ 1588006 h 1640228"/>
              <a:gd name="connsiteX31" fmla="*/ 269936 w 1576226"/>
              <a:gd name="connsiteY31" fmla="*/ 1614117 h 1640228"/>
              <a:gd name="connsiteX32" fmla="*/ 243825 w 1576226"/>
              <a:gd name="connsiteY32" fmla="*/ 1640228 h 1640228"/>
              <a:gd name="connsiteX33" fmla="*/ 217714 w 1576226"/>
              <a:gd name="connsiteY33" fmla="*/ 1614117 h 1640228"/>
              <a:gd name="connsiteX34" fmla="*/ 243825 w 1576226"/>
              <a:gd name="connsiteY34" fmla="*/ 1588006 h 1640228"/>
              <a:gd name="connsiteX35" fmla="*/ 26111 w 1576226"/>
              <a:gd name="connsiteY35" fmla="*/ 1588006 h 1640228"/>
              <a:gd name="connsiteX36" fmla="*/ 52222 w 1576226"/>
              <a:gd name="connsiteY36" fmla="*/ 1614117 h 1640228"/>
              <a:gd name="connsiteX37" fmla="*/ 26111 w 1576226"/>
              <a:gd name="connsiteY37" fmla="*/ 1640228 h 1640228"/>
              <a:gd name="connsiteX38" fmla="*/ 0 w 1576226"/>
              <a:gd name="connsiteY38" fmla="*/ 1614117 h 1640228"/>
              <a:gd name="connsiteX39" fmla="*/ 26111 w 1576226"/>
              <a:gd name="connsiteY39" fmla="*/ 1588006 h 1640228"/>
              <a:gd name="connsiteX40" fmla="*/ 1550110 w 1576226"/>
              <a:gd name="connsiteY40" fmla="*/ 1361148 h 1640228"/>
              <a:gd name="connsiteX41" fmla="*/ 1576221 w 1576226"/>
              <a:gd name="connsiteY41" fmla="*/ 1387259 h 1640228"/>
              <a:gd name="connsiteX42" fmla="*/ 1550110 w 1576226"/>
              <a:gd name="connsiteY42" fmla="*/ 1413370 h 1640228"/>
              <a:gd name="connsiteX43" fmla="*/ 1523999 w 1576226"/>
              <a:gd name="connsiteY43" fmla="*/ 1387259 h 1640228"/>
              <a:gd name="connsiteX44" fmla="*/ 1550110 w 1576226"/>
              <a:gd name="connsiteY44" fmla="*/ 1361148 h 1640228"/>
              <a:gd name="connsiteX45" fmla="*/ 1332396 w 1576226"/>
              <a:gd name="connsiteY45" fmla="*/ 1361148 h 1640228"/>
              <a:gd name="connsiteX46" fmla="*/ 1358507 w 1576226"/>
              <a:gd name="connsiteY46" fmla="*/ 1387259 h 1640228"/>
              <a:gd name="connsiteX47" fmla="*/ 1332396 w 1576226"/>
              <a:gd name="connsiteY47" fmla="*/ 1413370 h 1640228"/>
              <a:gd name="connsiteX48" fmla="*/ 1306285 w 1576226"/>
              <a:gd name="connsiteY48" fmla="*/ 1387259 h 1640228"/>
              <a:gd name="connsiteX49" fmla="*/ 1332396 w 1576226"/>
              <a:gd name="connsiteY49" fmla="*/ 1361148 h 1640228"/>
              <a:gd name="connsiteX50" fmla="*/ 1114683 w 1576226"/>
              <a:gd name="connsiteY50" fmla="*/ 1361148 h 1640228"/>
              <a:gd name="connsiteX51" fmla="*/ 1140794 w 1576226"/>
              <a:gd name="connsiteY51" fmla="*/ 1387259 h 1640228"/>
              <a:gd name="connsiteX52" fmla="*/ 1114683 w 1576226"/>
              <a:gd name="connsiteY52" fmla="*/ 1413370 h 1640228"/>
              <a:gd name="connsiteX53" fmla="*/ 1088572 w 1576226"/>
              <a:gd name="connsiteY53" fmla="*/ 1387259 h 1640228"/>
              <a:gd name="connsiteX54" fmla="*/ 1114683 w 1576226"/>
              <a:gd name="connsiteY54" fmla="*/ 1361148 h 1640228"/>
              <a:gd name="connsiteX55" fmla="*/ 896969 w 1576226"/>
              <a:gd name="connsiteY55" fmla="*/ 1361148 h 1640228"/>
              <a:gd name="connsiteX56" fmla="*/ 923080 w 1576226"/>
              <a:gd name="connsiteY56" fmla="*/ 1387259 h 1640228"/>
              <a:gd name="connsiteX57" fmla="*/ 896969 w 1576226"/>
              <a:gd name="connsiteY57" fmla="*/ 1413370 h 1640228"/>
              <a:gd name="connsiteX58" fmla="*/ 870858 w 1576226"/>
              <a:gd name="connsiteY58" fmla="*/ 1387259 h 1640228"/>
              <a:gd name="connsiteX59" fmla="*/ 896969 w 1576226"/>
              <a:gd name="connsiteY59" fmla="*/ 1361148 h 1640228"/>
              <a:gd name="connsiteX60" fmla="*/ 679254 w 1576226"/>
              <a:gd name="connsiteY60" fmla="*/ 1361148 h 1640228"/>
              <a:gd name="connsiteX61" fmla="*/ 705365 w 1576226"/>
              <a:gd name="connsiteY61" fmla="*/ 1387259 h 1640228"/>
              <a:gd name="connsiteX62" fmla="*/ 679254 w 1576226"/>
              <a:gd name="connsiteY62" fmla="*/ 1413370 h 1640228"/>
              <a:gd name="connsiteX63" fmla="*/ 653143 w 1576226"/>
              <a:gd name="connsiteY63" fmla="*/ 1387259 h 1640228"/>
              <a:gd name="connsiteX64" fmla="*/ 679254 w 1576226"/>
              <a:gd name="connsiteY64" fmla="*/ 1361148 h 1640228"/>
              <a:gd name="connsiteX65" fmla="*/ 461540 w 1576226"/>
              <a:gd name="connsiteY65" fmla="*/ 1361148 h 1640228"/>
              <a:gd name="connsiteX66" fmla="*/ 487651 w 1576226"/>
              <a:gd name="connsiteY66" fmla="*/ 1387259 h 1640228"/>
              <a:gd name="connsiteX67" fmla="*/ 461540 w 1576226"/>
              <a:gd name="connsiteY67" fmla="*/ 1413370 h 1640228"/>
              <a:gd name="connsiteX68" fmla="*/ 435429 w 1576226"/>
              <a:gd name="connsiteY68" fmla="*/ 1387259 h 1640228"/>
              <a:gd name="connsiteX69" fmla="*/ 461540 w 1576226"/>
              <a:gd name="connsiteY69" fmla="*/ 1361148 h 1640228"/>
              <a:gd name="connsiteX70" fmla="*/ 243826 w 1576226"/>
              <a:gd name="connsiteY70" fmla="*/ 1361148 h 1640228"/>
              <a:gd name="connsiteX71" fmla="*/ 269937 w 1576226"/>
              <a:gd name="connsiteY71" fmla="*/ 1387259 h 1640228"/>
              <a:gd name="connsiteX72" fmla="*/ 243826 w 1576226"/>
              <a:gd name="connsiteY72" fmla="*/ 1413370 h 1640228"/>
              <a:gd name="connsiteX73" fmla="*/ 217715 w 1576226"/>
              <a:gd name="connsiteY73" fmla="*/ 1387259 h 1640228"/>
              <a:gd name="connsiteX74" fmla="*/ 243826 w 1576226"/>
              <a:gd name="connsiteY74" fmla="*/ 1361148 h 1640228"/>
              <a:gd name="connsiteX75" fmla="*/ 26112 w 1576226"/>
              <a:gd name="connsiteY75" fmla="*/ 1361148 h 1640228"/>
              <a:gd name="connsiteX76" fmla="*/ 52223 w 1576226"/>
              <a:gd name="connsiteY76" fmla="*/ 1387259 h 1640228"/>
              <a:gd name="connsiteX77" fmla="*/ 26112 w 1576226"/>
              <a:gd name="connsiteY77" fmla="*/ 1413370 h 1640228"/>
              <a:gd name="connsiteX78" fmla="*/ 1 w 1576226"/>
              <a:gd name="connsiteY78" fmla="*/ 1387259 h 1640228"/>
              <a:gd name="connsiteX79" fmla="*/ 26112 w 1576226"/>
              <a:gd name="connsiteY79" fmla="*/ 1361148 h 1640228"/>
              <a:gd name="connsiteX80" fmla="*/ 1550111 w 1576226"/>
              <a:gd name="connsiteY80" fmla="*/ 1134290 h 1640228"/>
              <a:gd name="connsiteX81" fmla="*/ 1576222 w 1576226"/>
              <a:gd name="connsiteY81" fmla="*/ 1160401 h 1640228"/>
              <a:gd name="connsiteX82" fmla="*/ 1550111 w 1576226"/>
              <a:gd name="connsiteY82" fmla="*/ 1186512 h 1640228"/>
              <a:gd name="connsiteX83" fmla="*/ 1524000 w 1576226"/>
              <a:gd name="connsiteY83" fmla="*/ 1160401 h 1640228"/>
              <a:gd name="connsiteX84" fmla="*/ 1550111 w 1576226"/>
              <a:gd name="connsiteY84" fmla="*/ 1134290 h 1640228"/>
              <a:gd name="connsiteX85" fmla="*/ 1332397 w 1576226"/>
              <a:gd name="connsiteY85" fmla="*/ 1134290 h 1640228"/>
              <a:gd name="connsiteX86" fmla="*/ 1358508 w 1576226"/>
              <a:gd name="connsiteY86" fmla="*/ 1160401 h 1640228"/>
              <a:gd name="connsiteX87" fmla="*/ 1332397 w 1576226"/>
              <a:gd name="connsiteY87" fmla="*/ 1186512 h 1640228"/>
              <a:gd name="connsiteX88" fmla="*/ 1306286 w 1576226"/>
              <a:gd name="connsiteY88" fmla="*/ 1160401 h 1640228"/>
              <a:gd name="connsiteX89" fmla="*/ 1332397 w 1576226"/>
              <a:gd name="connsiteY89" fmla="*/ 1134290 h 1640228"/>
              <a:gd name="connsiteX90" fmla="*/ 1114684 w 1576226"/>
              <a:gd name="connsiteY90" fmla="*/ 1134290 h 1640228"/>
              <a:gd name="connsiteX91" fmla="*/ 1140795 w 1576226"/>
              <a:gd name="connsiteY91" fmla="*/ 1160401 h 1640228"/>
              <a:gd name="connsiteX92" fmla="*/ 1114684 w 1576226"/>
              <a:gd name="connsiteY92" fmla="*/ 1186512 h 1640228"/>
              <a:gd name="connsiteX93" fmla="*/ 1088573 w 1576226"/>
              <a:gd name="connsiteY93" fmla="*/ 1160401 h 1640228"/>
              <a:gd name="connsiteX94" fmla="*/ 1114684 w 1576226"/>
              <a:gd name="connsiteY94" fmla="*/ 1134290 h 1640228"/>
              <a:gd name="connsiteX95" fmla="*/ 896970 w 1576226"/>
              <a:gd name="connsiteY95" fmla="*/ 1134290 h 1640228"/>
              <a:gd name="connsiteX96" fmla="*/ 923081 w 1576226"/>
              <a:gd name="connsiteY96" fmla="*/ 1160401 h 1640228"/>
              <a:gd name="connsiteX97" fmla="*/ 896970 w 1576226"/>
              <a:gd name="connsiteY97" fmla="*/ 1186512 h 1640228"/>
              <a:gd name="connsiteX98" fmla="*/ 870859 w 1576226"/>
              <a:gd name="connsiteY98" fmla="*/ 1160401 h 1640228"/>
              <a:gd name="connsiteX99" fmla="*/ 896970 w 1576226"/>
              <a:gd name="connsiteY99" fmla="*/ 1134290 h 1640228"/>
              <a:gd name="connsiteX100" fmla="*/ 679255 w 1576226"/>
              <a:gd name="connsiteY100" fmla="*/ 1134290 h 1640228"/>
              <a:gd name="connsiteX101" fmla="*/ 705366 w 1576226"/>
              <a:gd name="connsiteY101" fmla="*/ 1160401 h 1640228"/>
              <a:gd name="connsiteX102" fmla="*/ 679255 w 1576226"/>
              <a:gd name="connsiteY102" fmla="*/ 1186512 h 1640228"/>
              <a:gd name="connsiteX103" fmla="*/ 653144 w 1576226"/>
              <a:gd name="connsiteY103" fmla="*/ 1160401 h 1640228"/>
              <a:gd name="connsiteX104" fmla="*/ 679255 w 1576226"/>
              <a:gd name="connsiteY104" fmla="*/ 1134290 h 1640228"/>
              <a:gd name="connsiteX105" fmla="*/ 461541 w 1576226"/>
              <a:gd name="connsiteY105" fmla="*/ 1134290 h 1640228"/>
              <a:gd name="connsiteX106" fmla="*/ 487652 w 1576226"/>
              <a:gd name="connsiteY106" fmla="*/ 1160401 h 1640228"/>
              <a:gd name="connsiteX107" fmla="*/ 461541 w 1576226"/>
              <a:gd name="connsiteY107" fmla="*/ 1186512 h 1640228"/>
              <a:gd name="connsiteX108" fmla="*/ 435430 w 1576226"/>
              <a:gd name="connsiteY108" fmla="*/ 1160401 h 1640228"/>
              <a:gd name="connsiteX109" fmla="*/ 461541 w 1576226"/>
              <a:gd name="connsiteY109" fmla="*/ 1134290 h 1640228"/>
              <a:gd name="connsiteX110" fmla="*/ 243827 w 1576226"/>
              <a:gd name="connsiteY110" fmla="*/ 1134290 h 1640228"/>
              <a:gd name="connsiteX111" fmla="*/ 269938 w 1576226"/>
              <a:gd name="connsiteY111" fmla="*/ 1160401 h 1640228"/>
              <a:gd name="connsiteX112" fmla="*/ 243827 w 1576226"/>
              <a:gd name="connsiteY112" fmla="*/ 1186512 h 1640228"/>
              <a:gd name="connsiteX113" fmla="*/ 217716 w 1576226"/>
              <a:gd name="connsiteY113" fmla="*/ 1160401 h 1640228"/>
              <a:gd name="connsiteX114" fmla="*/ 243827 w 1576226"/>
              <a:gd name="connsiteY114" fmla="*/ 1134290 h 1640228"/>
              <a:gd name="connsiteX115" fmla="*/ 26113 w 1576226"/>
              <a:gd name="connsiteY115" fmla="*/ 1134290 h 1640228"/>
              <a:gd name="connsiteX116" fmla="*/ 52224 w 1576226"/>
              <a:gd name="connsiteY116" fmla="*/ 1160401 h 1640228"/>
              <a:gd name="connsiteX117" fmla="*/ 26113 w 1576226"/>
              <a:gd name="connsiteY117" fmla="*/ 1186512 h 1640228"/>
              <a:gd name="connsiteX118" fmla="*/ 2 w 1576226"/>
              <a:gd name="connsiteY118" fmla="*/ 1160401 h 1640228"/>
              <a:gd name="connsiteX119" fmla="*/ 26113 w 1576226"/>
              <a:gd name="connsiteY119" fmla="*/ 1134290 h 1640228"/>
              <a:gd name="connsiteX120" fmla="*/ 1550112 w 1576226"/>
              <a:gd name="connsiteY120" fmla="*/ 907432 h 1640228"/>
              <a:gd name="connsiteX121" fmla="*/ 1576223 w 1576226"/>
              <a:gd name="connsiteY121" fmla="*/ 933543 h 1640228"/>
              <a:gd name="connsiteX122" fmla="*/ 1550112 w 1576226"/>
              <a:gd name="connsiteY122" fmla="*/ 959654 h 1640228"/>
              <a:gd name="connsiteX123" fmla="*/ 1524001 w 1576226"/>
              <a:gd name="connsiteY123" fmla="*/ 933543 h 1640228"/>
              <a:gd name="connsiteX124" fmla="*/ 1550112 w 1576226"/>
              <a:gd name="connsiteY124" fmla="*/ 907432 h 1640228"/>
              <a:gd name="connsiteX125" fmla="*/ 1332398 w 1576226"/>
              <a:gd name="connsiteY125" fmla="*/ 907432 h 1640228"/>
              <a:gd name="connsiteX126" fmla="*/ 1358509 w 1576226"/>
              <a:gd name="connsiteY126" fmla="*/ 933543 h 1640228"/>
              <a:gd name="connsiteX127" fmla="*/ 1332398 w 1576226"/>
              <a:gd name="connsiteY127" fmla="*/ 959654 h 1640228"/>
              <a:gd name="connsiteX128" fmla="*/ 1306287 w 1576226"/>
              <a:gd name="connsiteY128" fmla="*/ 933543 h 1640228"/>
              <a:gd name="connsiteX129" fmla="*/ 1332398 w 1576226"/>
              <a:gd name="connsiteY129" fmla="*/ 907432 h 1640228"/>
              <a:gd name="connsiteX130" fmla="*/ 1114685 w 1576226"/>
              <a:gd name="connsiteY130" fmla="*/ 907432 h 1640228"/>
              <a:gd name="connsiteX131" fmla="*/ 1140796 w 1576226"/>
              <a:gd name="connsiteY131" fmla="*/ 933543 h 1640228"/>
              <a:gd name="connsiteX132" fmla="*/ 1114685 w 1576226"/>
              <a:gd name="connsiteY132" fmla="*/ 959654 h 1640228"/>
              <a:gd name="connsiteX133" fmla="*/ 1088574 w 1576226"/>
              <a:gd name="connsiteY133" fmla="*/ 933543 h 1640228"/>
              <a:gd name="connsiteX134" fmla="*/ 1114685 w 1576226"/>
              <a:gd name="connsiteY134" fmla="*/ 907432 h 1640228"/>
              <a:gd name="connsiteX135" fmla="*/ 896971 w 1576226"/>
              <a:gd name="connsiteY135" fmla="*/ 907432 h 1640228"/>
              <a:gd name="connsiteX136" fmla="*/ 923082 w 1576226"/>
              <a:gd name="connsiteY136" fmla="*/ 933543 h 1640228"/>
              <a:gd name="connsiteX137" fmla="*/ 896971 w 1576226"/>
              <a:gd name="connsiteY137" fmla="*/ 959654 h 1640228"/>
              <a:gd name="connsiteX138" fmla="*/ 870860 w 1576226"/>
              <a:gd name="connsiteY138" fmla="*/ 933543 h 1640228"/>
              <a:gd name="connsiteX139" fmla="*/ 896971 w 1576226"/>
              <a:gd name="connsiteY139" fmla="*/ 907432 h 1640228"/>
              <a:gd name="connsiteX140" fmla="*/ 679256 w 1576226"/>
              <a:gd name="connsiteY140" fmla="*/ 907432 h 1640228"/>
              <a:gd name="connsiteX141" fmla="*/ 705367 w 1576226"/>
              <a:gd name="connsiteY141" fmla="*/ 933543 h 1640228"/>
              <a:gd name="connsiteX142" fmla="*/ 679256 w 1576226"/>
              <a:gd name="connsiteY142" fmla="*/ 959654 h 1640228"/>
              <a:gd name="connsiteX143" fmla="*/ 653145 w 1576226"/>
              <a:gd name="connsiteY143" fmla="*/ 933543 h 1640228"/>
              <a:gd name="connsiteX144" fmla="*/ 679256 w 1576226"/>
              <a:gd name="connsiteY144" fmla="*/ 907432 h 1640228"/>
              <a:gd name="connsiteX145" fmla="*/ 461542 w 1576226"/>
              <a:gd name="connsiteY145" fmla="*/ 907432 h 1640228"/>
              <a:gd name="connsiteX146" fmla="*/ 487653 w 1576226"/>
              <a:gd name="connsiteY146" fmla="*/ 933543 h 1640228"/>
              <a:gd name="connsiteX147" fmla="*/ 461542 w 1576226"/>
              <a:gd name="connsiteY147" fmla="*/ 959654 h 1640228"/>
              <a:gd name="connsiteX148" fmla="*/ 435431 w 1576226"/>
              <a:gd name="connsiteY148" fmla="*/ 933543 h 1640228"/>
              <a:gd name="connsiteX149" fmla="*/ 461542 w 1576226"/>
              <a:gd name="connsiteY149" fmla="*/ 907432 h 1640228"/>
              <a:gd name="connsiteX150" fmla="*/ 243828 w 1576226"/>
              <a:gd name="connsiteY150" fmla="*/ 907432 h 1640228"/>
              <a:gd name="connsiteX151" fmla="*/ 269939 w 1576226"/>
              <a:gd name="connsiteY151" fmla="*/ 933543 h 1640228"/>
              <a:gd name="connsiteX152" fmla="*/ 243828 w 1576226"/>
              <a:gd name="connsiteY152" fmla="*/ 959654 h 1640228"/>
              <a:gd name="connsiteX153" fmla="*/ 217717 w 1576226"/>
              <a:gd name="connsiteY153" fmla="*/ 933543 h 1640228"/>
              <a:gd name="connsiteX154" fmla="*/ 243828 w 1576226"/>
              <a:gd name="connsiteY154" fmla="*/ 907432 h 1640228"/>
              <a:gd name="connsiteX155" fmla="*/ 26114 w 1576226"/>
              <a:gd name="connsiteY155" fmla="*/ 907432 h 1640228"/>
              <a:gd name="connsiteX156" fmla="*/ 52225 w 1576226"/>
              <a:gd name="connsiteY156" fmla="*/ 933543 h 1640228"/>
              <a:gd name="connsiteX157" fmla="*/ 26114 w 1576226"/>
              <a:gd name="connsiteY157" fmla="*/ 959654 h 1640228"/>
              <a:gd name="connsiteX158" fmla="*/ 3 w 1576226"/>
              <a:gd name="connsiteY158" fmla="*/ 933543 h 1640228"/>
              <a:gd name="connsiteX159" fmla="*/ 26114 w 1576226"/>
              <a:gd name="connsiteY159" fmla="*/ 907432 h 1640228"/>
              <a:gd name="connsiteX160" fmla="*/ 1550113 w 1576226"/>
              <a:gd name="connsiteY160" fmla="*/ 680574 h 1640228"/>
              <a:gd name="connsiteX161" fmla="*/ 1576224 w 1576226"/>
              <a:gd name="connsiteY161" fmla="*/ 706685 h 1640228"/>
              <a:gd name="connsiteX162" fmla="*/ 1550113 w 1576226"/>
              <a:gd name="connsiteY162" fmla="*/ 732796 h 1640228"/>
              <a:gd name="connsiteX163" fmla="*/ 1524002 w 1576226"/>
              <a:gd name="connsiteY163" fmla="*/ 706685 h 1640228"/>
              <a:gd name="connsiteX164" fmla="*/ 1550113 w 1576226"/>
              <a:gd name="connsiteY164" fmla="*/ 680574 h 1640228"/>
              <a:gd name="connsiteX165" fmla="*/ 1332399 w 1576226"/>
              <a:gd name="connsiteY165" fmla="*/ 680574 h 1640228"/>
              <a:gd name="connsiteX166" fmla="*/ 1358510 w 1576226"/>
              <a:gd name="connsiteY166" fmla="*/ 706685 h 1640228"/>
              <a:gd name="connsiteX167" fmla="*/ 1332399 w 1576226"/>
              <a:gd name="connsiteY167" fmla="*/ 732796 h 1640228"/>
              <a:gd name="connsiteX168" fmla="*/ 1306288 w 1576226"/>
              <a:gd name="connsiteY168" fmla="*/ 706685 h 1640228"/>
              <a:gd name="connsiteX169" fmla="*/ 1332399 w 1576226"/>
              <a:gd name="connsiteY169" fmla="*/ 680574 h 1640228"/>
              <a:gd name="connsiteX170" fmla="*/ 1114686 w 1576226"/>
              <a:gd name="connsiteY170" fmla="*/ 680574 h 1640228"/>
              <a:gd name="connsiteX171" fmla="*/ 1140797 w 1576226"/>
              <a:gd name="connsiteY171" fmla="*/ 706685 h 1640228"/>
              <a:gd name="connsiteX172" fmla="*/ 1114686 w 1576226"/>
              <a:gd name="connsiteY172" fmla="*/ 732796 h 1640228"/>
              <a:gd name="connsiteX173" fmla="*/ 1088575 w 1576226"/>
              <a:gd name="connsiteY173" fmla="*/ 706685 h 1640228"/>
              <a:gd name="connsiteX174" fmla="*/ 1114686 w 1576226"/>
              <a:gd name="connsiteY174" fmla="*/ 680574 h 1640228"/>
              <a:gd name="connsiteX175" fmla="*/ 896972 w 1576226"/>
              <a:gd name="connsiteY175" fmla="*/ 680574 h 1640228"/>
              <a:gd name="connsiteX176" fmla="*/ 923083 w 1576226"/>
              <a:gd name="connsiteY176" fmla="*/ 706685 h 1640228"/>
              <a:gd name="connsiteX177" fmla="*/ 896972 w 1576226"/>
              <a:gd name="connsiteY177" fmla="*/ 732796 h 1640228"/>
              <a:gd name="connsiteX178" fmla="*/ 870861 w 1576226"/>
              <a:gd name="connsiteY178" fmla="*/ 706685 h 1640228"/>
              <a:gd name="connsiteX179" fmla="*/ 896972 w 1576226"/>
              <a:gd name="connsiteY179" fmla="*/ 680574 h 1640228"/>
              <a:gd name="connsiteX180" fmla="*/ 679257 w 1576226"/>
              <a:gd name="connsiteY180" fmla="*/ 680574 h 1640228"/>
              <a:gd name="connsiteX181" fmla="*/ 705368 w 1576226"/>
              <a:gd name="connsiteY181" fmla="*/ 706685 h 1640228"/>
              <a:gd name="connsiteX182" fmla="*/ 679257 w 1576226"/>
              <a:gd name="connsiteY182" fmla="*/ 732796 h 1640228"/>
              <a:gd name="connsiteX183" fmla="*/ 653146 w 1576226"/>
              <a:gd name="connsiteY183" fmla="*/ 706685 h 1640228"/>
              <a:gd name="connsiteX184" fmla="*/ 679257 w 1576226"/>
              <a:gd name="connsiteY184" fmla="*/ 680574 h 1640228"/>
              <a:gd name="connsiteX185" fmla="*/ 461543 w 1576226"/>
              <a:gd name="connsiteY185" fmla="*/ 680574 h 1640228"/>
              <a:gd name="connsiteX186" fmla="*/ 487654 w 1576226"/>
              <a:gd name="connsiteY186" fmla="*/ 706685 h 1640228"/>
              <a:gd name="connsiteX187" fmla="*/ 461543 w 1576226"/>
              <a:gd name="connsiteY187" fmla="*/ 732796 h 1640228"/>
              <a:gd name="connsiteX188" fmla="*/ 435432 w 1576226"/>
              <a:gd name="connsiteY188" fmla="*/ 706685 h 1640228"/>
              <a:gd name="connsiteX189" fmla="*/ 461543 w 1576226"/>
              <a:gd name="connsiteY189" fmla="*/ 680574 h 1640228"/>
              <a:gd name="connsiteX190" fmla="*/ 243829 w 1576226"/>
              <a:gd name="connsiteY190" fmla="*/ 680574 h 1640228"/>
              <a:gd name="connsiteX191" fmla="*/ 269940 w 1576226"/>
              <a:gd name="connsiteY191" fmla="*/ 706685 h 1640228"/>
              <a:gd name="connsiteX192" fmla="*/ 243829 w 1576226"/>
              <a:gd name="connsiteY192" fmla="*/ 732796 h 1640228"/>
              <a:gd name="connsiteX193" fmla="*/ 217718 w 1576226"/>
              <a:gd name="connsiteY193" fmla="*/ 706685 h 1640228"/>
              <a:gd name="connsiteX194" fmla="*/ 243829 w 1576226"/>
              <a:gd name="connsiteY194" fmla="*/ 680574 h 1640228"/>
              <a:gd name="connsiteX195" fmla="*/ 26115 w 1576226"/>
              <a:gd name="connsiteY195" fmla="*/ 680574 h 1640228"/>
              <a:gd name="connsiteX196" fmla="*/ 52226 w 1576226"/>
              <a:gd name="connsiteY196" fmla="*/ 706685 h 1640228"/>
              <a:gd name="connsiteX197" fmla="*/ 26115 w 1576226"/>
              <a:gd name="connsiteY197" fmla="*/ 732796 h 1640228"/>
              <a:gd name="connsiteX198" fmla="*/ 4 w 1576226"/>
              <a:gd name="connsiteY198" fmla="*/ 706685 h 1640228"/>
              <a:gd name="connsiteX199" fmla="*/ 26115 w 1576226"/>
              <a:gd name="connsiteY199" fmla="*/ 680574 h 1640228"/>
              <a:gd name="connsiteX200" fmla="*/ 26116 w 1576226"/>
              <a:gd name="connsiteY200" fmla="*/ 453717 h 1640228"/>
              <a:gd name="connsiteX201" fmla="*/ 52227 w 1576226"/>
              <a:gd name="connsiteY201" fmla="*/ 479827 h 1640228"/>
              <a:gd name="connsiteX202" fmla="*/ 26116 w 1576226"/>
              <a:gd name="connsiteY202" fmla="*/ 505939 h 1640228"/>
              <a:gd name="connsiteX203" fmla="*/ 5 w 1576226"/>
              <a:gd name="connsiteY203" fmla="*/ 479827 h 1640228"/>
              <a:gd name="connsiteX204" fmla="*/ 26116 w 1576226"/>
              <a:gd name="connsiteY204" fmla="*/ 453717 h 1640228"/>
              <a:gd name="connsiteX205" fmla="*/ 243830 w 1576226"/>
              <a:gd name="connsiteY205" fmla="*/ 453717 h 1640228"/>
              <a:gd name="connsiteX206" fmla="*/ 269941 w 1576226"/>
              <a:gd name="connsiteY206" fmla="*/ 479827 h 1640228"/>
              <a:gd name="connsiteX207" fmla="*/ 243830 w 1576226"/>
              <a:gd name="connsiteY207" fmla="*/ 505939 h 1640228"/>
              <a:gd name="connsiteX208" fmla="*/ 217719 w 1576226"/>
              <a:gd name="connsiteY208" fmla="*/ 479827 h 1640228"/>
              <a:gd name="connsiteX209" fmla="*/ 243830 w 1576226"/>
              <a:gd name="connsiteY209" fmla="*/ 453717 h 1640228"/>
              <a:gd name="connsiteX210" fmla="*/ 461544 w 1576226"/>
              <a:gd name="connsiteY210" fmla="*/ 453717 h 1640228"/>
              <a:gd name="connsiteX211" fmla="*/ 487655 w 1576226"/>
              <a:gd name="connsiteY211" fmla="*/ 479827 h 1640228"/>
              <a:gd name="connsiteX212" fmla="*/ 461544 w 1576226"/>
              <a:gd name="connsiteY212" fmla="*/ 505939 h 1640228"/>
              <a:gd name="connsiteX213" fmla="*/ 435433 w 1576226"/>
              <a:gd name="connsiteY213" fmla="*/ 479827 h 1640228"/>
              <a:gd name="connsiteX214" fmla="*/ 461544 w 1576226"/>
              <a:gd name="connsiteY214" fmla="*/ 453717 h 1640228"/>
              <a:gd name="connsiteX215" fmla="*/ 679258 w 1576226"/>
              <a:gd name="connsiteY215" fmla="*/ 453717 h 1640228"/>
              <a:gd name="connsiteX216" fmla="*/ 705369 w 1576226"/>
              <a:gd name="connsiteY216" fmla="*/ 479827 h 1640228"/>
              <a:gd name="connsiteX217" fmla="*/ 679258 w 1576226"/>
              <a:gd name="connsiteY217" fmla="*/ 505939 h 1640228"/>
              <a:gd name="connsiteX218" fmla="*/ 653147 w 1576226"/>
              <a:gd name="connsiteY218" fmla="*/ 479827 h 1640228"/>
              <a:gd name="connsiteX219" fmla="*/ 679258 w 1576226"/>
              <a:gd name="connsiteY219" fmla="*/ 453717 h 1640228"/>
              <a:gd name="connsiteX220" fmla="*/ 896973 w 1576226"/>
              <a:gd name="connsiteY220" fmla="*/ 453717 h 1640228"/>
              <a:gd name="connsiteX221" fmla="*/ 923084 w 1576226"/>
              <a:gd name="connsiteY221" fmla="*/ 479827 h 1640228"/>
              <a:gd name="connsiteX222" fmla="*/ 896973 w 1576226"/>
              <a:gd name="connsiteY222" fmla="*/ 505939 h 1640228"/>
              <a:gd name="connsiteX223" fmla="*/ 870862 w 1576226"/>
              <a:gd name="connsiteY223" fmla="*/ 479827 h 1640228"/>
              <a:gd name="connsiteX224" fmla="*/ 896973 w 1576226"/>
              <a:gd name="connsiteY224" fmla="*/ 453717 h 1640228"/>
              <a:gd name="connsiteX225" fmla="*/ 1114687 w 1576226"/>
              <a:gd name="connsiteY225" fmla="*/ 453717 h 1640228"/>
              <a:gd name="connsiteX226" fmla="*/ 1140798 w 1576226"/>
              <a:gd name="connsiteY226" fmla="*/ 479827 h 1640228"/>
              <a:gd name="connsiteX227" fmla="*/ 1114687 w 1576226"/>
              <a:gd name="connsiteY227" fmla="*/ 505938 h 1640228"/>
              <a:gd name="connsiteX228" fmla="*/ 1088576 w 1576226"/>
              <a:gd name="connsiteY228" fmla="*/ 479827 h 1640228"/>
              <a:gd name="connsiteX229" fmla="*/ 1114687 w 1576226"/>
              <a:gd name="connsiteY229" fmla="*/ 453717 h 1640228"/>
              <a:gd name="connsiteX230" fmla="*/ 1332400 w 1576226"/>
              <a:gd name="connsiteY230" fmla="*/ 453716 h 1640228"/>
              <a:gd name="connsiteX231" fmla="*/ 1358511 w 1576226"/>
              <a:gd name="connsiteY231" fmla="*/ 479827 h 1640228"/>
              <a:gd name="connsiteX232" fmla="*/ 1332400 w 1576226"/>
              <a:gd name="connsiteY232" fmla="*/ 505938 h 1640228"/>
              <a:gd name="connsiteX233" fmla="*/ 1306289 w 1576226"/>
              <a:gd name="connsiteY233" fmla="*/ 479827 h 1640228"/>
              <a:gd name="connsiteX234" fmla="*/ 1332400 w 1576226"/>
              <a:gd name="connsiteY234" fmla="*/ 453716 h 1640228"/>
              <a:gd name="connsiteX235" fmla="*/ 1550114 w 1576226"/>
              <a:gd name="connsiteY235" fmla="*/ 453716 h 1640228"/>
              <a:gd name="connsiteX236" fmla="*/ 1576225 w 1576226"/>
              <a:gd name="connsiteY236" fmla="*/ 479827 h 1640228"/>
              <a:gd name="connsiteX237" fmla="*/ 1550114 w 1576226"/>
              <a:gd name="connsiteY237" fmla="*/ 505938 h 1640228"/>
              <a:gd name="connsiteX238" fmla="*/ 1524003 w 1576226"/>
              <a:gd name="connsiteY238" fmla="*/ 479827 h 1640228"/>
              <a:gd name="connsiteX239" fmla="*/ 1550114 w 1576226"/>
              <a:gd name="connsiteY239" fmla="*/ 453716 h 1640228"/>
              <a:gd name="connsiteX240" fmla="*/ 1114688 w 1576226"/>
              <a:gd name="connsiteY240" fmla="*/ 226858 h 1640228"/>
              <a:gd name="connsiteX241" fmla="*/ 1140799 w 1576226"/>
              <a:gd name="connsiteY241" fmla="*/ 252969 h 1640228"/>
              <a:gd name="connsiteX242" fmla="*/ 1114688 w 1576226"/>
              <a:gd name="connsiteY242" fmla="*/ 279080 h 1640228"/>
              <a:gd name="connsiteX243" fmla="*/ 1088577 w 1576226"/>
              <a:gd name="connsiteY243" fmla="*/ 252969 h 1640228"/>
              <a:gd name="connsiteX244" fmla="*/ 1114688 w 1576226"/>
              <a:gd name="connsiteY244" fmla="*/ 226858 h 1640228"/>
              <a:gd name="connsiteX245" fmla="*/ 896974 w 1576226"/>
              <a:gd name="connsiteY245" fmla="*/ 226858 h 1640228"/>
              <a:gd name="connsiteX246" fmla="*/ 923085 w 1576226"/>
              <a:gd name="connsiteY246" fmla="*/ 252969 h 1640228"/>
              <a:gd name="connsiteX247" fmla="*/ 896974 w 1576226"/>
              <a:gd name="connsiteY247" fmla="*/ 279080 h 1640228"/>
              <a:gd name="connsiteX248" fmla="*/ 870863 w 1576226"/>
              <a:gd name="connsiteY248" fmla="*/ 252969 h 1640228"/>
              <a:gd name="connsiteX249" fmla="*/ 896974 w 1576226"/>
              <a:gd name="connsiteY249" fmla="*/ 226858 h 1640228"/>
              <a:gd name="connsiteX250" fmla="*/ 679259 w 1576226"/>
              <a:gd name="connsiteY250" fmla="*/ 226858 h 1640228"/>
              <a:gd name="connsiteX251" fmla="*/ 705370 w 1576226"/>
              <a:gd name="connsiteY251" fmla="*/ 252970 h 1640228"/>
              <a:gd name="connsiteX252" fmla="*/ 679259 w 1576226"/>
              <a:gd name="connsiteY252" fmla="*/ 279080 h 1640228"/>
              <a:gd name="connsiteX253" fmla="*/ 653148 w 1576226"/>
              <a:gd name="connsiteY253" fmla="*/ 252970 h 1640228"/>
              <a:gd name="connsiteX254" fmla="*/ 679259 w 1576226"/>
              <a:gd name="connsiteY254" fmla="*/ 226858 h 1640228"/>
              <a:gd name="connsiteX255" fmla="*/ 461545 w 1576226"/>
              <a:gd name="connsiteY255" fmla="*/ 226858 h 1640228"/>
              <a:gd name="connsiteX256" fmla="*/ 487656 w 1576226"/>
              <a:gd name="connsiteY256" fmla="*/ 252970 h 1640228"/>
              <a:gd name="connsiteX257" fmla="*/ 461545 w 1576226"/>
              <a:gd name="connsiteY257" fmla="*/ 279081 h 1640228"/>
              <a:gd name="connsiteX258" fmla="*/ 435434 w 1576226"/>
              <a:gd name="connsiteY258" fmla="*/ 252970 h 1640228"/>
              <a:gd name="connsiteX259" fmla="*/ 461545 w 1576226"/>
              <a:gd name="connsiteY259" fmla="*/ 226858 h 1640228"/>
              <a:gd name="connsiteX260" fmla="*/ 243831 w 1576226"/>
              <a:gd name="connsiteY260" fmla="*/ 226858 h 1640228"/>
              <a:gd name="connsiteX261" fmla="*/ 269942 w 1576226"/>
              <a:gd name="connsiteY261" fmla="*/ 252970 h 1640228"/>
              <a:gd name="connsiteX262" fmla="*/ 243831 w 1576226"/>
              <a:gd name="connsiteY262" fmla="*/ 279081 h 1640228"/>
              <a:gd name="connsiteX263" fmla="*/ 217720 w 1576226"/>
              <a:gd name="connsiteY263" fmla="*/ 252970 h 1640228"/>
              <a:gd name="connsiteX264" fmla="*/ 243831 w 1576226"/>
              <a:gd name="connsiteY264" fmla="*/ 226858 h 1640228"/>
              <a:gd name="connsiteX265" fmla="*/ 26117 w 1576226"/>
              <a:gd name="connsiteY265" fmla="*/ 226858 h 1640228"/>
              <a:gd name="connsiteX266" fmla="*/ 52228 w 1576226"/>
              <a:gd name="connsiteY266" fmla="*/ 252970 h 1640228"/>
              <a:gd name="connsiteX267" fmla="*/ 26117 w 1576226"/>
              <a:gd name="connsiteY267" fmla="*/ 279081 h 1640228"/>
              <a:gd name="connsiteX268" fmla="*/ 6 w 1576226"/>
              <a:gd name="connsiteY268" fmla="*/ 252970 h 1640228"/>
              <a:gd name="connsiteX269" fmla="*/ 26117 w 1576226"/>
              <a:gd name="connsiteY269" fmla="*/ 226858 h 1640228"/>
              <a:gd name="connsiteX270" fmla="*/ 1332401 w 1576226"/>
              <a:gd name="connsiteY270" fmla="*/ 226858 h 1640228"/>
              <a:gd name="connsiteX271" fmla="*/ 1358512 w 1576226"/>
              <a:gd name="connsiteY271" fmla="*/ 252969 h 1640228"/>
              <a:gd name="connsiteX272" fmla="*/ 1332401 w 1576226"/>
              <a:gd name="connsiteY272" fmla="*/ 279080 h 1640228"/>
              <a:gd name="connsiteX273" fmla="*/ 1306290 w 1576226"/>
              <a:gd name="connsiteY273" fmla="*/ 252969 h 1640228"/>
              <a:gd name="connsiteX274" fmla="*/ 1332401 w 1576226"/>
              <a:gd name="connsiteY274" fmla="*/ 226858 h 1640228"/>
              <a:gd name="connsiteX275" fmla="*/ 1550115 w 1576226"/>
              <a:gd name="connsiteY275" fmla="*/ 226858 h 1640228"/>
              <a:gd name="connsiteX276" fmla="*/ 1576226 w 1576226"/>
              <a:gd name="connsiteY276" fmla="*/ 252969 h 1640228"/>
              <a:gd name="connsiteX277" fmla="*/ 1550115 w 1576226"/>
              <a:gd name="connsiteY277" fmla="*/ 279080 h 1640228"/>
              <a:gd name="connsiteX278" fmla="*/ 1524004 w 1576226"/>
              <a:gd name="connsiteY278" fmla="*/ 252969 h 1640228"/>
              <a:gd name="connsiteX279" fmla="*/ 1550115 w 1576226"/>
              <a:gd name="connsiteY279" fmla="*/ 226858 h 1640228"/>
              <a:gd name="connsiteX280" fmla="*/ 26117 w 1576226"/>
              <a:gd name="connsiteY280" fmla="*/ 2 h 1640228"/>
              <a:gd name="connsiteX281" fmla="*/ 52228 w 1576226"/>
              <a:gd name="connsiteY281" fmla="*/ 26113 h 1640228"/>
              <a:gd name="connsiteX282" fmla="*/ 26117 w 1576226"/>
              <a:gd name="connsiteY282" fmla="*/ 52224 h 1640228"/>
              <a:gd name="connsiteX283" fmla="*/ 6 w 1576226"/>
              <a:gd name="connsiteY283" fmla="*/ 26113 h 1640228"/>
              <a:gd name="connsiteX284" fmla="*/ 26117 w 1576226"/>
              <a:gd name="connsiteY284" fmla="*/ 2 h 1640228"/>
              <a:gd name="connsiteX285" fmla="*/ 243831 w 1576226"/>
              <a:gd name="connsiteY285" fmla="*/ 1 h 1640228"/>
              <a:gd name="connsiteX286" fmla="*/ 269942 w 1576226"/>
              <a:gd name="connsiteY286" fmla="*/ 26112 h 1640228"/>
              <a:gd name="connsiteX287" fmla="*/ 243831 w 1576226"/>
              <a:gd name="connsiteY287" fmla="*/ 52224 h 1640228"/>
              <a:gd name="connsiteX288" fmla="*/ 217720 w 1576226"/>
              <a:gd name="connsiteY288" fmla="*/ 26112 h 1640228"/>
              <a:gd name="connsiteX289" fmla="*/ 243831 w 1576226"/>
              <a:gd name="connsiteY289" fmla="*/ 1 h 1640228"/>
              <a:gd name="connsiteX290" fmla="*/ 461545 w 1576226"/>
              <a:gd name="connsiteY290" fmla="*/ 1 h 1640228"/>
              <a:gd name="connsiteX291" fmla="*/ 487656 w 1576226"/>
              <a:gd name="connsiteY291" fmla="*/ 26112 h 1640228"/>
              <a:gd name="connsiteX292" fmla="*/ 461545 w 1576226"/>
              <a:gd name="connsiteY292" fmla="*/ 52224 h 1640228"/>
              <a:gd name="connsiteX293" fmla="*/ 435434 w 1576226"/>
              <a:gd name="connsiteY293" fmla="*/ 26112 h 1640228"/>
              <a:gd name="connsiteX294" fmla="*/ 461545 w 1576226"/>
              <a:gd name="connsiteY294" fmla="*/ 1 h 1640228"/>
              <a:gd name="connsiteX295" fmla="*/ 679259 w 1576226"/>
              <a:gd name="connsiteY295" fmla="*/ 1 h 1640228"/>
              <a:gd name="connsiteX296" fmla="*/ 705370 w 1576226"/>
              <a:gd name="connsiteY296" fmla="*/ 26112 h 1640228"/>
              <a:gd name="connsiteX297" fmla="*/ 679259 w 1576226"/>
              <a:gd name="connsiteY297" fmla="*/ 52223 h 1640228"/>
              <a:gd name="connsiteX298" fmla="*/ 653148 w 1576226"/>
              <a:gd name="connsiteY298" fmla="*/ 26112 h 1640228"/>
              <a:gd name="connsiteX299" fmla="*/ 679259 w 1576226"/>
              <a:gd name="connsiteY299" fmla="*/ 1 h 1640228"/>
              <a:gd name="connsiteX300" fmla="*/ 896974 w 1576226"/>
              <a:gd name="connsiteY300" fmla="*/ 1 h 1640228"/>
              <a:gd name="connsiteX301" fmla="*/ 923085 w 1576226"/>
              <a:gd name="connsiteY301" fmla="*/ 26112 h 1640228"/>
              <a:gd name="connsiteX302" fmla="*/ 896974 w 1576226"/>
              <a:gd name="connsiteY302" fmla="*/ 52223 h 1640228"/>
              <a:gd name="connsiteX303" fmla="*/ 870863 w 1576226"/>
              <a:gd name="connsiteY303" fmla="*/ 26112 h 1640228"/>
              <a:gd name="connsiteX304" fmla="*/ 896974 w 1576226"/>
              <a:gd name="connsiteY304" fmla="*/ 1 h 1640228"/>
              <a:gd name="connsiteX305" fmla="*/ 1114688 w 1576226"/>
              <a:gd name="connsiteY305" fmla="*/ 1 h 1640228"/>
              <a:gd name="connsiteX306" fmla="*/ 1140799 w 1576226"/>
              <a:gd name="connsiteY306" fmla="*/ 26112 h 1640228"/>
              <a:gd name="connsiteX307" fmla="*/ 1114688 w 1576226"/>
              <a:gd name="connsiteY307" fmla="*/ 52223 h 1640228"/>
              <a:gd name="connsiteX308" fmla="*/ 1088577 w 1576226"/>
              <a:gd name="connsiteY308" fmla="*/ 26112 h 1640228"/>
              <a:gd name="connsiteX309" fmla="*/ 1114688 w 1576226"/>
              <a:gd name="connsiteY309" fmla="*/ 1 h 1640228"/>
              <a:gd name="connsiteX310" fmla="*/ 1332401 w 1576226"/>
              <a:gd name="connsiteY310" fmla="*/ 0 h 1640228"/>
              <a:gd name="connsiteX311" fmla="*/ 1358512 w 1576226"/>
              <a:gd name="connsiteY311" fmla="*/ 26111 h 1640228"/>
              <a:gd name="connsiteX312" fmla="*/ 1332401 w 1576226"/>
              <a:gd name="connsiteY312" fmla="*/ 52223 h 1640228"/>
              <a:gd name="connsiteX313" fmla="*/ 1306290 w 1576226"/>
              <a:gd name="connsiteY313" fmla="*/ 26111 h 1640228"/>
              <a:gd name="connsiteX314" fmla="*/ 1332401 w 1576226"/>
              <a:gd name="connsiteY314" fmla="*/ 0 h 1640228"/>
              <a:gd name="connsiteX315" fmla="*/ 1550115 w 1576226"/>
              <a:gd name="connsiteY315" fmla="*/ 0 h 1640228"/>
              <a:gd name="connsiteX316" fmla="*/ 1576226 w 1576226"/>
              <a:gd name="connsiteY316" fmla="*/ 26111 h 1640228"/>
              <a:gd name="connsiteX317" fmla="*/ 1550115 w 1576226"/>
              <a:gd name="connsiteY317" fmla="*/ 52222 h 1640228"/>
              <a:gd name="connsiteX318" fmla="*/ 1524004 w 1576226"/>
              <a:gd name="connsiteY318" fmla="*/ 26111 h 1640228"/>
              <a:gd name="connsiteX319" fmla="*/ 1550115 w 1576226"/>
              <a:gd name="connsiteY319" fmla="*/ 0 h 16402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Lst>
            <a:rect l="l" t="t" r="r" b="b"/>
            <a:pathLst>
              <a:path w="1576226" h="1640228">
                <a:moveTo>
                  <a:pt x="1550109" y="1588006"/>
                </a:moveTo>
                <a:cubicBezTo>
                  <a:pt x="1564530" y="1588006"/>
                  <a:pt x="1576220" y="1599696"/>
                  <a:pt x="1576220" y="1614117"/>
                </a:cubicBezTo>
                <a:cubicBezTo>
                  <a:pt x="1576220" y="1628538"/>
                  <a:pt x="1564530" y="1640228"/>
                  <a:pt x="1550109" y="1640228"/>
                </a:cubicBezTo>
                <a:cubicBezTo>
                  <a:pt x="1535688" y="1640228"/>
                  <a:pt x="1523998" y="1628538"/>
                  <a:pt x="1523998" y="1614117"/>
                </a:cubicBezTo>
                <a:cubicBezTo>
                  <a:pt x="1523998" y="1599696"/>
                  <a:pt x="1535688" y="1588006"/>
                  <a:pt x="1550109" y="1588006"/>
                </a:cubicBezTo>
                <a:close/>
                <a:moveTo>
                  <a:pt x="1332395" y="1588006"/>
                </a:moveTo>
                <a:cubicBezTo>
                  <a:pt x="1346816" y="1588006"/>
                  <a:pt x="1358506" y="1599696"/>
                  <a:pt x="1358506" y="1614117"/>
                </a:cubicBezTo>
                <a:cubicBezTo>
                  <a:pt x="1358506" y="1628538"/>
                  <a:pt x="1346816" y="1640228"/>
                  <a:pt x="1332395" y="1640228"/>
                </a:cubicBezTo>
                <a:cubicBezTo>
                  <a:pt x="1317974" y="1640228"/>
                  <a:pt x="1306284" y="1628538"/>
                  <a:pt x="1306284" y="1614117"/>
                </a:cubicBezTo>
                <a:cubicBezTo>
                  <a:pt x="1306284" y="1599696"/>
                  <a:pt x="1317974" y="1588006"/>
                  <a:pt x="1332395" y="1588006"/>
                </a:cubicBezTo>
                <a:close/>
                <a:moveTo>
                  <a:pt x="1114682" y="1588006"/>
                </a:moveTo>
                <a:cubicBezTo>
                  <a:pt x="1129103" y="1588006"/>
                  <a:pt x="1140793" y="1599696"/>
                  <a:pt x="1140793" y="1614117"/>
                </a:cubicBezTo>
                <a:cubicBezTo>
                  <a:pt x="1140793" y="1628538"/>
                  <a:pt x="1129103" y="1640228"/>
                  <a:pt x="1114682" y="1640228"/>
                </a:cubicBezTo>
                <a:cubicBezTo>
                  <a:pt x="1100261" y="1640228"/>
                  <a:pt x="1088571" y="1628538"/>
                  <a:pt x="1088571" y="1614117"/>
                </a:cubicBezTo>
                <a:cubicBezTo>
                  <a:pt x="1088571" y="1599696"/>
                  <a:pt x="1100261" y="1588006"/>
                  <a:pt x="1114682" y="1588006"/>
                </a:cubicBezTo>
                <a:close/>
                <a:moveTo>
                  <a:pt x="896968" y="1588006"/>
                </a:moveTo>
                <a:cubicBezTo>
                  <a:pt x="911389" y="1588006"/>
                  <a:pt x="923079" y="1599696"/>
                  <a:pt x="923079" y="1614117"/>
                </a:cubicBezTo>
                <a:cubicBezTo>
                  <a:pt x="923079" y="1628538"/>
                  <a:pt x="911389" y="1640228"/>
                  <a:pt x="896968" y="1640228"/>
                </a:cubicBezTo>
                <a:cubicBezTo>
                  <a:pt x="882547" y="1640228"/>
                  <a:pt x="870857" y="1628538"/>
                  <a:pt x="870857" y="1614117"/>
                </a:cubicBezTo>
                <a:cubicBezTo>
                  <a:pt x="870857" y="1599696"/>
                  <a:pt x="882547" y="1588006"/>
                  <a:pt x="896968" y="1588006"/>
                </a:cubicBezTo>
                <a:close/>
                <a:moveTo>
                  <a:pt x="679253" y="1588006"/>
                </a:moveTo>
                <a:cubicBezTo>
                  <a:pt x="693674" y="1588006"/>
                  <a:pt x="705364" y="1599696"/>
                  <a:pt x="705364" y="1614117"/>
                </a:cubicBezTo>
                <a:cubicBezTo>
                  <a:pt x="705364" y="1628538"/>
                  <a:pt x="693674" y="1640228"/>
                  <a:pt x="679253" y="1640228"/>
                </a:cubicBezTo>
                <a:cubicBezTo>
                  <a:pt x="664832" y="1640228"/>
                  <a:pt x="653142" y="1628538"/>
                  <a:pt x="653142" y="1614117"/>
                </a:cubicBezTo>
                <a:cubicBezTo>
                  <a:pt x="653142" y="1599696"/>
                  <a:pt x="664832" y="1588006"/>
                  <a:pt x="679253" y="1588006"/>
                </a:cubicBezTo>
                <a:close/>
                <a:moveTo>
                  <a:pt x="461539" y="1588006"/>
                </a:moveTo>
                <a:cubicBezTo>
                  <a:pt x="475960" y="1588006"/>
                  <a:pt x="487650" y="1599696"/>
                  <a:pt x="487650" y="1614117"/>
                </a:cubicBezTo>
                <a:cubicBezTo>
                  <a:pt x="487650" y="1628538"/>
                  <a:pt x="475960" y="1640228"/>
                  <a:pt x="461539" y="1640228"/>
                </a:cubicBezTo>
                <a:cubicBezTo>
                  <a:pt x="447118" y="1640228"/>
                  <a:pt x="435428" y="1628538"/>
                  <a:pt x="435428" y="1614117"/>
                </a:cubicBezTo>
                <a:cubicBezTo>
                  <a:pt x="435428" y="1599696"/>
                  <a:pt x="447118" y="1588006"/>
                  <a:pt x="461539" y="1588006"/>
                </a:cubicBezTo>
                <a:close/>
                <a:moveTo>
                  <a:pt x="243825" y="1588006"/>
                </a:moveTo>
                <a:cubicBezTo>
                  <a:pt x="258246" y="1588006"/>
                  <a:pt x="269936" y="1599696"/>
                  <a:pt x="269936" y="1614117"/>
                </a:cubicBezTo>
                <a:cubicBezTo>
                  <a:pt x="269936" y="1628538"/>
                  <a:pt x="258246" y="1640228"/>
                  <a:pt x="243825" y="1640228"/>
                </a:cubicBezTo>
                <a:cubicBezTo>
                  <a:pt x="229404" y="1640228"/>
                  <a:pt x="217714" y="1628538"/>
                  <a:pt x="217714" y="1614117"/>
                </a:cubicBezTo>
                <a:cubicBezTo>
                  <a:pt x="217714" y="1599696"/>
                  <a:pt x="229404" y="1588006"/>
                  <a:pt x="243825" y="1588006"/>
                </a:cubicBezTo>
                <a:close/>
                <a:moveTo>
                  <a:pt x="26111" y="1588006"/>
                </a:moveTo>
                <a:cubicBezTo>
                  <a:pt x="40532" y="1588006"/>
                  <a:pt x="52222" y="1599696"/>
                  <a:pt x="52222" y="1614117"/>
                </a:cubicBezTo>
                <a:cubicBezTo>
                  <a:pt x="52222" y="1628538"/>
                  <a:pt x="40532" y="1640228"/>
                  <a:pt x="26111" y="1640228"/>
                </a:cubicBezTo>
                <a:cubicBezTo>
                  <a:pt x="11690" y="1640228"/>
                  <a:pt x="0" y="1628538"/>
                  <a:pt x="0" y="1614117"/>
                </a:cubicBezTo>
                <a:cubicBezTo>
                  <a:pt x="0" y="1599696"/>
                  <a:pt x="11690" y="1588006"/>
                  <a:pt x="26111" y="1588006"/>
                </a:cubicBezTo>
                <a:close/>
                <a:moveTo>
                  <a:pt x="1550110" y="1361148"/>
                </a:moveTo>
                <a:cubicBezTo>
                  <a:pt x="1564531" y="1361148"/>
                  <a:pt x="1576221" y="1372838"/>
                  <a:pt x="1576221" y="1387259"/>
                </a:cubicBezTo>
                <a:cubicBezTo>
                  <a:pt x="1576221" y="1401680"/>
                  <a:pt x="1564531" y="1413370"/>
                  <a:pt x="1550110" y="1413370"/>
                </a:cubicBezTo>
                <a:cubicBezTo>
                  <a:pt x="1535689" y="1413370"/>
                  <a:pt x="1523999" y="1401680"/>
                  <a:pt x="1523999" y="1387259"/>
                </a:cubicBezTo>
                <a:cubicBezTo>
                  <a:pt x="1523999" y="1372838"/>
                  <a:pt x="1535689" y="1361148"/>
                  <a:pt x="1550110" y="1361148"/>
                </a:cubicBezTo>
                <a:close/>
                <a:moveTo>
                  <a:pt x="1332396" y="1361148"/>
                </a:moveTo>
                <a:cubicBezTo>
                  <a:pt x="1346817" y="1361148"/>
                  <a:pt x="1358507" y="1372838"/>
                  <a:pt x="1358507" y="1387259"/>
                </a:cubicBezTo>
                <a:cubicBezTo>
                  <a:pt x="1358507" y="1401680"/>
                  <a:pt x="1346817" y="1413370"/>
                  <a:pt x="1332396" y="1413370"/>
                </a:cubicBezTo>
                <a:cubicBezTo>
                  <a:pt x="1317975" y="1413370"/>
                  <a:pt x="1306285" y="1401680"/>
                  <a:pt x="1306285" y="1387259"/>
                </a:cubicBezTo>
                <a:cubicBezTo>
                  <a:pt x="1306285" y="1372838"/>
                  <a:pt x="1317975" y="1361148"/>
                  <a:pt x="1332396" y="1361148"/>
                </a:cubicBezTo>
                <a:close/>
                <a:moveTo>
                  <a:pt x="1114683" y="1361148"/>
                </a:moveTo>
                <a:cubicBezTo>
                  <a:pt x="1129104" y="1361148"/>
                  <a:pt x="1140794" y="1372838"/>
                  <a:pt x="1140794" y="1387259"/>
                </a:cubicBezTo>
                <a:cubicBezTo>
                  <a:pt x="1140794" y="1401680"/>
                  <a:pt x="1129104" y="1413370"/>
                  <a:pt x="1114683" y="1413370"/>
                </a:cubicBezTo>
                <a:cubicBezTo>
                  <a:pt x="1100262" y="1413370"/>
                  <a:pt x="1088572" y="1401680"/>
                  <a:pt x="1088572" y="1387259"/>
                </a:cubicBezTo>
                <a:cubicBezTo>
                  <a:pt x="1088572" y="1372838"/>
                  <a:pt x="1100262" y="1361148"/>
                  <a:pt x="1114683" y="1361148"/>
                </a:cubicBezTo>
                <a:close/>
                <a:moveTo>
                  <a:pt x="896969" y="1361148"/>
                </a:moveTo>
                <a:cubicBezTo>
                  <a:pt x="911390" y="1361148"/>
                  <a:pt x="923080" y="1372838"/>
                  <a:pt x="923080" y="1387259"/>
                </a:cubicBezTo>
                <a:cubicBezTo>
                  <a:pt x="923080" y="1401680"/>
                  <a:pt x="911390" y="1413370"/>
                  <a:pt x="896969" y="1413370"/>
                </a:cubicBezTo>
                <a:cubicBezTo>
                  <a:pt x="882548" y="1413370"/>
                  <a:pt x="870858" y="1401680"/>
                  <a:pt x="870858" y="1387259"/>
                </a:cubicBezTo>
                <a:cubicBezTo>
                  <a:pt x="870858" y="1372838"/>
                  <a:pt x="882548" y="1361148"/>
                  <a:pt x="896969" y="1361148"/>
                </a:cubicBezTo>
                <a:close/>
                <a:moveTo>
                  <a:pt x="679254" y="1361148"/>
                </a:moveTo>
                <a:cubicBezTo>
                  <a:pt x="693675" y="1361148"/>
                  <a:pt x="705365" y="1372838"/>
                  <a:pt x="705365" y="1387259"/>
                </a:cubicBezTo>
                <a:cubicBezTo>
                  <a:pt x="705365" y="1401680"/>
                  <a:pt x="693675" y="1413370"/>
                  <a:pt x="679254" y="1413370"/>
                </a:cubicBezTo>
                <a:cubicBezTo>
                  <a:pt x="664833" y="1413370"/>
                  <a:pt x="653143" y="1401680"/>
                  <a:pt x="653143" y="1387259"/>
                </a:cubicBezTo>
                <a:cubicBezTo>
                  <a:pt x="653143" y="1372838"/>
                  <a:pt x="664833" y="1361148"/>
                  <a:pt x="679254" y="1361148"/>
                </a:cubicBezTo>
                <a:close/>
                <a:moveTo>
                  <a:pt x="461540" y="1361148"/>
                </a:moveTo>
                <a:cubicBezTo>
                  <a:pt x="475961" y="1361148"/>
                  <a:pt x="487651" y="1372838"/>
                  <a:pt x="487651" y="1387259"/>
                </a:cubicBezTo>
                <a:cubicBezTo>
                  <a:pt x="487651" y="1401680"/>
                  <a:pt x="475961" y="1413370"/>
                  <a:pt x="461540" y="1413370"/>
                </a:cubicBezTo>
                <a:cubicBezTo>
                  <a:pt x="447119" y="1413370"/>
                  <a:pt x="435429" y="1401680"/>
                  <a:pt x="435429" y="1387259"/>
                </a:cubicBezTo>
                <a:cubicBezTo>
                  <a:pt x="435429" y="1372838"/>
                  <a:pt x="447119" y="1361148"/>
                  <a:pt x="461540" y="1361148"/>
                </a:cubicBezTo>
                <a:close/>
                <a:moveTo>
                  <a:pt x="243826" y="1361148"/>
                </a:moveTo>
                <a:cubicBezTo>
                  <a:pt x="258247" y="1361148"/>
                  <a:pt x="269937" y="1372838"/>
                  <a:pt x="269937" y="1387259"/>
                </a:cubicBezTo>
                <a:cubicBezTo>
                  <a:pt x="269937" y="1401680"/>
                  <a:pt x="258247" y="1413370"/>
                  <a:pt x="243826" y="1413370"/>
                </a:cubicBezTo>
                <a:cubicBezTo>
                  <a:pt x="229405" y="1413370"/>
                  <a:pt x="217715" y="1401680"/>
                  <a:pt x="217715" y="1387259"/>
                </a:cubicBezTo>
                <a:cubicBezTo>
                  <a:pt x="217715" y="1372838"/>
                  <a:pt x="229405" y="1361148"/>
                  <a:pt x="243826" y="1361148"/>
                </a:cubicBezTo>
                <a:close/>
                <a:moveTo>
                  <a:pt x="26112" y="1361148"/>
                </a:moveTo>
                <a:cubicBezTo>
                  <a:pt x="40533" y="1361148"/>
                  <a:pt x="52223" y="1372838"/>
                  <a:pt x="52223" y="1387259"/>
                </a:cubicBezTo>
                <a:cubicBezTo>
                  <a:pt x="52223" y="1401680"/>
                  <a:pt x="40533" y="1413370"/>
                  <a:pt x="26112" y="1413370"/>
                </a:cubicBezTo>
                <a:cubicBezTo>
                  <a:pt x="11691" y="1413370"/>
                  <a:pt x="1" y="1401680"/>
                  <a:pt x="1" y="1387259"/>
                </a:cubicBezTo>
                <a:cubicBezTo>
                  <a:pt x="1" y="1372838"/>
                  <a:pt x="11691" y="1361148"/>
                  <a:pt x="26112" y="1361148"/>
                </a:cubicBezTo>
                <a:close/>
                <a:moveTo>
                  <a:pt x="1550111" y="1134290"/>
                </a:moveTo>
                <a:cubicBezTo>
                  <a:pt x="1564532" y="1134290"/>
                  <a:pt x="1576222" y="1145980"/>
                  <a:pt x="1576222" y="1160401"/>
                </a:cubicBezTo>
                <a:cubicBezTo>
                  <a:pt x="1576222" y="1174822"/>
                  <a:pt x="1564532" y="1186512"/>
                  <a:pt x="1550111" y="1186512"/>
                </a:cubicBezTo>
                <a:cubicBezTo>
                  <a:pt x="1535690" y="1186512"/>
                  <a:pt x="1524000" y="1174822"/>
                  <a:pt x="1524000" y="1160401"/>
                </a:cubicBezTo>
                <a:cubicBezTo>
                  <a:pt x="1524000" y="1145980"/>
                  <a:pt x="1535690" y="1134290"/>
                  <a:pt x="1550111" y="1134290"/>
                </a:cubicBezTo>
                <a:close/>
                <a:moveTo>
                  <a:pt x="1332397" y="1134290"/>
                </a:moveTo>
                <a:cubicBezTo>
                  <a:pt x="1346818" y="1134290"/>
                  <a:pt x="1358508" y="1145980"/>
                  <a:pt x="1358508" y="1160401"/>
                </a:cubicBezTo>
                <a:cubicBezTo>
                  <a:pt x="1358508" y="1174822"/>
                  <a:pt x="1346818" y="1186512"/>
                  <a:pt x="1332397" y="1186512"/>
                </a:cubicBezTo>
                <a:cubicBezTo>
                  <a:pt x="1317976" y="1186512"/>
                  <a:pt x="1306286" y="1174822"/>
                  <a:pt x="1306286" y="1160401"/>
                </a:cubicBezTo>
                <a:cubicBezTo>
                  <a:pt x="1306286" y="1145980"/>
                  <a:pt x="1317976" y="1134290"/>
                  <a:pt x="1332397" y="1134290"/>
                </a:cubicBezTo>
                <a:close/>
                <a:moveTo>
                  <a:pt x="1114684" y="1134290"/>
                </a:moveTo>
                <a:cubicBezTo>
                  <a:pt x="1129105" y="1134290"/>
                  <a:pt x="1140795" y="1145980"/>
                  <a:pt x="1140795" y="1160401"/>
                </a:cubicBezTo>
                <a:cubicBezTo>
                  <a:pt x="1140795" y="1174822"/>
                  <a:pt x="1129105" y="1186512"/>
                  <a:pt x="1114684" y="1186512"/>
                </a:cubicBezTo>
                <a:cubicBezTo>
                  <a:pt x="1100263" y="1186512"/>
                  <a:pt x="1088573" y="1174822"/>
                  <a:pt x="1088573" y="1160401"/>
                </a:cubicBezTo>
                <a:cubicBezTo>
                  <a:pt x="1088573" y="1145980"/>
                  <a:pt x="1100263" y="1134290"/>
                  <a:pt x="1114684" y="1134290"/>
                </a:cubicBezTo>
                <a:close/>
                <a:moveTo>
                  <a:pt x="896970" y="1134290"/>
                </a:moveTo>
                <a:cubicBezTo>
                  <a:pt x="911391" y="1134290"/>
                  <a:pt x="923081" y="1145980"/>
                  <a:pt x="923081" y="1160401"/>
                </a:cubicBezTo>
                <a:cubicBezTo>
                  <a:pt x="923081" y="1174822"/>
                  <a:pt x="911391" y="1186512"/>
                  <a:pt x="896970" y="1186512"/>
                </a:cubicBezTo>
                <a:cubicBezTo>
                  <a:pt x="882549" y="1186512"/>
                  <a:pt x="870859" y="1174822"/>
                  <a:pt x="870859" y="1160401"/>
                </a:cubicBezTo>
                <a:cubicBezTo>
                  <a:pt x="870859" y="1145980"/>
                  <a:pt x="882549" y="1134290"/>
                  <a:pt x="896970" y="1134290"/>
                </a:cubicBezTo>
                <a:close/>
                <a:moveTo>
                  <a:pt x="679255" y="1134290"/>
                </a:moveTo>
                <a:cubicBezTo>
                  <a:pt x="693676" y="1134290"/>
                  <a:pt x="705366" y="1145980"/>
                  <a:pt x="705366" y="1160401"/>
                </a:cubicBezTo>
                <a:cubicBezTo>
                  <a:pt x="705366" y="1174822"/>
                  <a:pt x="693676" y="1186512"/>
                  <a:pt x="679255" y="1186512"/>
                </a:cubicBezTo>
                <a:cubicBezTo>
                  <a:pt x="664834" y="1186512"/>
                  <a:pt x="653144" y="1174822"/>
                  <a:pt x="653144" y="1160401"/>
                </a:cubicBezTo>
                <a:cubicBezTo>
                  <a:pt x="653144" y="1145980"/>
                  <a:pt x="664834" y="1134290"/>
                  <a:pt x="679255" y="1134290"/>
                </a:cubicBezTo>
                <a:close/>
                <a:moveTo>
                  <a:pt x="461541" y="1134290"/>
                </a:moveTo>
                <a:cubicBezTo>
                  <a:pt x="475962" y="1134290"/>
                  <a:pt x="487652" y="1145980"/>
                  <a:pt x="487652" y="1160401"/>
                </a:cubicBezTo>
                <a:cubicBezTo>
                  <a:pt x="487652" y="1174822"/>
                  <a:pt x="475962" y="1186512"/>
                  <a:pt x="461541" y="1186512"/>
                </a:cubicBezTo>
                <a:cubicBezTo>
                  <a:pt x="447120" y="1186512"/>
                  <a:pt x="435430" y="1174822"/>
                  <a:pt x="435430" y="1160401"/>
                </a:cubicBezTo>
                <a:cubicBezTo>
                  <a:pt x="435430" y="1145980"/>
                  <a:pt x="447120" y="1134290"/>
                  <a:pt x="461541" y="1134290"/>
                </a:cubicBezTo>
                <a:close/>
                <a:moveTo>
                  <a:pt x="243827" y="1134290"/>
                </a:moveTo>
                <a:cubicBezTo>
                  <a:pt x="258248" y="1134290"/>
                  <a:pt x="269938" y="1145980"/>
                  <a:pt x="269938" y="1160401"/>
                </a:cubicBezTo>
                <a:cubicBezTo>
                  <a:pt x="269938" y="1174822"/>
                  <a:pt x="258248" y="1186512"/>
                  <a:pt x="243827" y="1186512"/>
                </a:cubicBezTo>
                <a:cubicBezTo>
                  <a:pt x="229406" y="1186512"/>
                  <a:pt x="217716" y="1174822"/>
                  <a:pt x="217716" y="1160401"/>
                </a:cubicBezTo>
                <a:cubicBezTo>
                  <a:pt x="217716" y="1145980"/>
                  <a:pt x="229406" y="1134290"/>
                  <a:pt x="243827" y="1134290"/>
                </a:cubicBezTo>
                <a:close/>
                <a:moveTo>
                  <a:pt x="26113" y="1134290"/>
                </a:moveTo>
                <a:cubicBezTo>
                  <a:pt x="40534" y="1134290"/>
                  <a:pt x="52224" y="1145980"/>
                  <a:pt x="52224" y="1160401"/>
                </a:cubicBezTo>
                <a:cubicBezTo>
                  <a:pt x="52224" y="1174822"/>
                  <a:pt x="40534" y="1186512"/>
                  <a:pt x="26113" y="1186512"/>
                </a:cubicBezTo>
                <a:cubicBezTo>
                  <a:pt x="11692" y="1186512"/>
                  <a:pt x="2" y="1174822"/>
                  <a:pt x="2" y="1160401"/>
                </a:cubicBezTo>
                <a:cubicBezTo>
                  <a:pt x="2" y="1145980"/>
                  <a:pt x="11692" y="1134290"/>
                  <a:pt x="26113" y="1134290"/>
                </a:cubicBezTo>
                <a:close/>
                <a:moveTo>
                  <a:pt x="1550112" y="907432"/>
                </a:moveTo>
                <a:cubicBezTo>
                  <a:pt x="1564533" y="907432"/>
                  <a:pt x="1576223" y="919122"/>
                  <a:pt x="1576223" y="933543"/>
                </a:cubicBezTo>
                <a:cubicBezTo>
                  <a:pt x="1576223" y="947964"/>
                  <a:pt x="1564533" y="959654"/>
                  <a:pt x="1550112" y="959654"/>
                </a:cubicBezTo>
                <a:cubicBezTo>
                  <a:pt x="1535691" y="959654"/>
                  <a:pt x="1524001" y="947964"/>
                  <a:pt x="1524001" y="933543"/>
                </a:cubicBezTo>
                <a:cubicBezTo>
                  <a:pt x="1524001" y="919122"/>
                  <a:pt x="1535691" y="907432"/>
                  <a:pt x="1550112" y="907432"/>
                </a:cubicBezTo>
                <a:close/>
                <a:moveTo>
                  <a:pt x="1332398" y="907432"/>
                </a:moveTo>
                <a:cubicBezTo>
                  <a:pt x="1346819" y="907432"/>
                  <a:pt x="1358509" y="919122"/>
                  <a:pt x="1358509" y="933543"/>
                </a:cubicBezTo>
                <a:cubicBezTo>
                  <a:pt x="1358509" y="947964"/>
                  <a:pt x="1346819" y="959654"/>
                  <a:pt x="1332398" y="959654"/>
                </a:cubicBezTo>
                <a:cubicBezTo>
                  <a:pt x="1317977" y="959654"/>
                  <a:pt x="1306287" y="947964"/>
                  <a:pt x="1306287" y="933543"/>
                </a:cubicBezTo>
                <a:cubicBezTo>
                  <a:pt x="1306287" y="919122"/>
                  <a:pt x="1317977" y="907432"/>
                  <a:pt x="1332398" y="907432"/>
                </a:cubicBezTo>
                <a:close/>
                <a:moveTo>
                  <a:pt x="1114685" y="907432"/>
                </a:moveTo>
                <a:cubicBezTo>
                  <a:pt x="1129106" y="907432"/>
                  <a:pt x="1140796" y="919122"/>
                  <a:pt x="1140796" y="933543"/>
                </a:cubicBezTo>
                <a:cubicBezTo>
                  <a:pt x="1140796" y="947964"/>
                  <a:pt x="1129106" y="959654"/>
                  <a:pt x="1114685" y="959654"/>
                </a:cubicBezTo>
                <a:cubicBezTo>
                  <a:pt x="1100264" y="959654"/>
                  <a:pt x="1088574" y="947964"/>
                  <a:pt x="1088574" y="933543"/>
                </a:cubicBezTo>
                <a:cubicBezTo>
                  <a:pt x="1088574" y="919122"/>
                  <a:pt x="1100264" y="907432"/>
                  <a:pt x="1114685" y="907432"/>
                </a:cubicBezTo>
                <a:close/>
                <a:moveTo>
                  <a:pt x="896971" y="907432"/>
                </a:moveTo>
                <a:cubicBezTo>
                  <a:pt x="911392" y="907432"/>
                  <a:pt x="923082" y="919122"/>
                  <a:pt x="923082" y="933543"/>
                </a:cubicBezTo>
                <a:cubicBezTo>
                  <a:pt x="923082" y="947964"/>
                  <a:pt x="911392" y="959654"/>
                  <a:pt x="896971" y="959654"/>
                </a:cubicBezTo>
                <a:cubicBezTo>
                  <a:pt x="882550" y="959654"/>
                  <a:pt x="870860" y="947964"/>
                  <a:pt x="870860" y="933543"/>
                </a:cubicBezTo>
                <a:cubicBezTo>
                  <a:pt x="870860" y="919122"/>
                  <a:pt x="882550" y="907432"/>
                  <a:pt x="896971" y="907432"/>
                </a:cubicBezTo>
                <a:close/>
                <a:moveTo>
                  <a:pt x="679256" y="907432"/>
                </a:moveTo>
                <a:cubicBezTo>
                  <a:pt x="693677" y="907432"/>
                  <a:pt x="705367" y="919122"/>
                  <a:pt x="705367" y="933543"/>
                </a:cubicBezTo>
                <a:cubicBezTo>
                  <a:pt x="705367" y="947964"/>
                  <a:pt x="693677" y="959654"/>
                  <a:pt x="679256" y="959654"/>
                </a:cubicBezTo>
                <a:cubicBezTo>
                  <a:pt x="664835" y="959654"/>
                  <a:pt x="653145" y="947964"/>
                  <a:pt x="653145" y="933543"/>
                </a:cubicBezTo>
                <a:cubicBezTo>
                  <a:pt x="653145" y="919122"/>
                  <a:pt x="664835" y="907432"/>
                  <a:pt x="679256" y="907432"/>
                </a:cubicBezTo>
                <a:close/>
                <a:moveTo>
                  <a:pt x="461542" y="907432"/>
                </a:moveTo>
                <a:cubicBezTo>
                  <a:pt x="475963" y="907432"/>
                  <a:pt x="487653" y="919122"/>
                  <a:pt x="487653" y="933543"/>
                </a:cubicBezTo>
                <a:cubicBezTo>
                  <a:pt x="487653" y="947964"/>
                  <a:pt x="475963" y="959654"/>
                  <a:pt x="461542" y="959654"/>
                </a:cubicBezTo>
                <a:cubicBezTo>
                  <a:pt x="447121" y="959654"/>
                  <a:pt x="435431" y="947964"/>
                  <a:pt x="435431" y="933543"/>
                </a:cubicBezTo>
                <a:cubicBezTo>
                  <a:pt x="435431" y="919122"/>
                  <a:pt x="447121" y="907432"/>
                  <a:pt x="461542" y="907432"/>
                </a:cubicBezTo>
                <a:close/>
                <a:moveTo>
                  <a:pt x="243828" y="907432"/>
                </a:moveTo>
                <a:cubicBezTo>
                  <a:pt x="258249" y="907432"/>
                  <a:pt x="269939" y="919122"/>
                  <a:pt x="269939" y="933543"/>
                </a:cubicBezTo>
                <a:cubicBezTo>
                  <a:pt x="269939" y="947964"/>
                  <a:pt x="258249" y="959654"/>
                  <a:pt x="243828" y="959654"/>
                </a:cubicBezTo>
                <a:cubicBezTo>
                  <a:pt x="229407" y="959654"/>
                  <a:pt x="217717" y="947964"/>
                  <a:pt x="217717" y="933543"/>
                </a:cubicBezTo>
                <a:cubicBezTo>
                  <a:pt x="217717" y="919122"/>
                  <a:pt x="229407" y="907432"/>
                  <a:pt x="243828" y="907432"/>
                </a:cubicBezTo>
                <a:close/>
                <a:moveTo>
                  <a:pt x="26114" y="907432"/>
                </a:moveTo>
                <a:cubicBezTo>
                  <a:pt x="40535" y="907432"/>
                  <a:pt x="52225" y="919122"/>
                  <a:pt x="52225" y="933543"/>
                </a:cubicBezTo>
                <a:cubicBezTo>
                  <a:pt x="52225" y="947964"/>
                  <a:pt x="40535" y="959654"/>
                  <a:pt x="26114" y="959654"/>
                </a:cubicBezTo>
                <a:cubicBezTo>
                  <a:pt x="11693" y="959654"/>
                  <a:pt x="3" y="947964"/>
                  <a:pt x="3" y="933543"/>
                </a:cubicBezTo>
                <a:cubicBezTo>
                  <a:pt x="3" y="919122"/>
                  <a:pt x="11693" y="907432"/>
                  <a:pt x="26114" y="907432"/>
                </a:cubicBezTo>
                <a:close/>
                <a:moveTo>
                  <a:pt x="1550113" y="680574"/>
                </a:moveTo>
                <a:cubicBezTo>
                  <a:pt x="1564534" y="680574"/>
                  <a:pt x="1576224" y="692264"/>
                  <a:pt x="1576224" y="706685"/>
                </a:cubicBezTo>
                <a:cubicBezTo>
                  <a:pt x="1576224" y="721106"/>
                  <a:pt x="1564534" y="732796"/>
                  <a:pt x="1550113" y="732796"/>
                </a:cubicBezTo>
                <a:cubicBezTo>
                  <a:pt x="1535692" y="732796"/>
                  <a:pt x="1524002" y="721106"/>
                  <a:pt x="1524002" y="706685"/>
                </a:cubicBezTo>
                <a:cubicBezTo>
                  <a:pt x="1524002" y="692264"/>
                  <a:pt x="1535692" y="680574"/>
                  <a:pt x="1550113" y="680574"/>
                </a:cubicBezTo>
                <a:close/>
                <a:moveTo>
                  <a:pt x="1332399" y="680574"/>
                </a:moveTo>
                <a:cubicBezTo>
                  <a:pt x="1346820" y="680574"/>
                  <a:pt x="1358510" y="692264"/>
                  <a:pt x="1358510" y="706685"/>
                </a:cubicBezTo>
                <a:cubicBezTo>
                  <a:pt x="1358510" y="721106"/>
                  <a:pt x="1346820" y="732796"/>
                  <a:pt x="1332399" y="732796"/>
                </a:cubicBezTo>
                <a:cubicBezTo>
                  <a:pt x="1317978" y="732796"/>
                  <a:pt x="1306288" y="721106"/>
                  <a:pt x="1306288" y="706685"/>
                </a:cubicBezTo>
                <a:cubicBezTo>
                  <a:pt x="1306288" y="692264"/>
                  <a:pt x="1317978" y="680574"/>
                  <a:pt x="1332399" y="680574"/>
                </a:cubicBezTo>
                <a:close/>
                <a:moveTo>
                  <a:pt x="1114686" y="680574"/>
                </a:moveTo>
                <a:cubicBezTo>
                  <a:pt x="1129107" y="680574"/>
                  <a:pt x="1140797" y="692264"/>
                  <a:pt x="1140797" y="706685"/>
                </a:cubicBezTo>
                <a:cubicBezTo>
                  <a:pt x="1140797" y="721106"/>
                  <a:pt x="1129107" y="732796"/>
                  <a:pt x="1114686" y="732796"/>
                </a:cubicBezTo>
                <a:cubicBezTo>
                  <a:pt x="1100265" y="732796"/>
                  <a:pt x="1088575" y="721106"/>
                  <a:pt x="1088575" y="706685"/>
                </a:cubicBezTo>
                <a:cubicBezTo>
                  <a:pt x="1088575" y="692264"/>
                  <a:pt x="1100265" y="680574"/>
                  <a:pt x="1114686" y="680574"/>
                </a:cubicBezTo>
                <a:close/>
                <a:moveTo>
                  <a:pt x="896972" y="680574"/>
                </a:moveTo>
                <a:cubicBezTo>
                  <a:pt x="911393" y="680574"/>
                  <a:pt x="923083" y="692264"/>
                  <a:pt x="923083" y="706685"/>
                </a:cubicBezTo>
                <a:cubicBezTo>
                  <a:pt x="923083" y="721106"/>
                  <a:pt x="911393" y="732796"/>
                  <a:pt x="896972" y="732796"/>
                </a:cubicBezTo>
                <a:cubicBezTo>
                  <a:pt x="882551" y="732796"/>
                  <a:pt x="870861" y="721106"/>
                  <a:pt x="870861" y="706685"/>
                </a:cubicBezTo>
                <a:cubicBezTo>
                  <a:pt x="870861" y="692264"/>
                  <a:pt x="882551" y="680574"/>
                  <a:pt x="896972" y="680574"/>
                </a:cubicBezTo>
                <a:close/>
                <a:moveTo>
                  <a:pt x="679257" y="680574"/>
                </a:moveTo>
                <a:cubicBezTo>
                  <a:pt x="693678" y="680574"/>
                  <a:pt x="705368" y="692264"/>
                  <a:pt x="705368" y="706685"/>
                </a:cubicBezTo>
                <a:cubicBezTo>
                  <a:pt x="705368" y="721106"/>
                  <a:pt x="693678" y="732796"/>
                  <a:pt x="679257" y="732796"/>
                </a:cubicBezTo>
                <a:cubicBezTo>
                  <a:pt x="664836" y="732796"/>
                  <a:pt x="653146" y="721106"/>
                  <a:pt x="653146" y="706685"/>
                </a:cubicBezTo>
                <a:cubicBezTo>
                  <a:pt x="653146" y="692264"/>
                  <a:pt x="664836" y="680574"/>
                  <a:pt x="679257" y="680574"/>
                </a:cubicBezTo>
                <a:close/>
                <a:moveTo>
                  <a:pt x="461543" y="680574"/>
                </a:moveTo>
                <a:cubicBezTo>
                  <a:pt x="475964" y="680574"/>
                  <a:pt x="487654" y="692264"/>
                  <a:pt x="487654" y="706685"/>
                </a:cubicBezTo>
                <a:cubicBezTo>
                  <a:pt x="487654" y="721106"/>
                  <a:pt x="475964" y="732796"/>
                  <a:pt x="461543" y="732796"/>
                </a:cubicBezTo>
                <a:cubicBezTo>
                  <a:pt x="447122" y="732796"/>
                  <a:pt x="435432" y="721106"/>
                  <a:pt x="435432" y="706685"/>
                </a:cubicBezTo>
                <a:cubicBezTo>
                  <a:pt x="435432" y="692264"/>
                  <a:pt x="447122" y="680574"/>
                  <a:pt x="461543" y="680574"/>
                </a:cubicBezTo>
                <a:close/>
                <a:moveTo>
                  <a:pt x="243829" y="680574"/>
                </a:moveTo>
                <a:cubicBezTo>
                  <a:pt x="258250" y="680574"/>
                  <a:pt x="269940" y="692264"/>
                  <a:pt x="269940" y="706685"/>
                </a:cubicBezTo>
                <a:cubicBezTo>
                  <a:pt x="269940" y="721106"/>
                  <a:pt x="258250" y="732796"/>
                  <a:pt x="243829" y="732796"/>
                </a:cubicBezTo>
                <a:cubicBezTo>
                  <a:pt x="229408" y="732796"/>
                  <a:pt x="217718" y="721106"/>
                  <a:pt x="217718" y="706685"/>
                </a:cubicBezTo>
                <a:cubicBezTo>
                  <a:pt x="217718" y="692264"/>
                  <a:pt x="229408" y="680574"/>
                  <a:pt x="243829" y="680574"/>
                </a:cubicBezTo>
                <a:close/>
                <a:moveTo>
                  <a:pt x="26115" y="680574"/>
                </a:moveTo>
                <a:cubicBezTo>
                  <a:pt x="40536" y="680574"/>
                  <a:pt x="52226" y="692264"/>
                  <a:pt x="52226" y="706685"/>
                </a:cubicBezTo>
                <a:cubicBezTo>
                  <a:pt x="52226" y="721106"/>
                  <a:pt x="40536" y="732796"/>
                  <a:pt x="26115" y="732796"/>
                </a:cubicBezTo>
                <a:cubicBezTo>
                  <a:pt x="11694" y="732796"/>
                  <a:pt x="4" y="721106"/>
                  <a:pt x="4" y="706685"/>
                </a:cubicBezTo>
                <a:cubicBezTo>
                  <a:pt x="4" y="692264"/>
                  <a:pt x="11694" y="680574"/>
                  <a:pt x="26115" y="680574"/>
                </a:cubicBezTo>
                <a:close/>
                <a:moveTo>
                  <a:pt x="26116" y="453717"/>
                </a:moveTo>
                <a:cubicBezTo>
                  <a:pt x="40537" y="453717"/>
                  <a:pt x="52227" y="465407"/>
                  <a:pt x="52227" y="479827"/>
                </a:cubicBezTo>
                <a:cubicBezTo>
                  <a:pt x="52227" y="494249"/>
                  <a:pt x="40537" y="505939"/>
                  <a:pt x="26116" y="505939"/>
                </a:cubicBezTo>
                <a:cubicBezTo>
                  <a:pt x="11695" y="505939"/>
                  <a:pt x="5" y="494249"/>
                  <a:pt x="5" y="479827"/>
                </a:cubicBezTo>
                <a:cubicBezTo>
                  <a:pt x="5" y="465407"/>
                  <a:pt x="11695" y="453717"/>
                  <a:pt x="26116" y="453717"/>
                </a:cubicBezTo>
                <a:close/>
                <a:moveTo>
                  <a:pt x="243830" y="453717"/>
                </a:moveTo>
                <a:cubicBezTo>
                  <a:pt x="258251" y="453717"/>
                  <a:pt x="269941" y="465407"/>
                  <a:pt x="269941" y="479827"/>
                </a:cubicBezTo>
                <a:cubicBezTo>
                  <a:pt x="269941" y="494249"/>
                  <a:pt x="258251" y="505939"/>
                  <a:pt x="243830" y="505939"/>
                </a:cubicBezTo>
                <a:cubicBezTo>
                  <a:pt x="229409" y="505939"/>
                  <a:pt x="217719" y="494249"/>
                  <a:pt x="217719" y="479827"/>
                </a:cubicBezTo>
                <a:cubicBezTo>
                  <a:pt x="217719" y="465407"/>
                  <a:pt x="229409" y="453717"/>
                  <a:pt x="243830" y="453717"/>
                </a:cubicBezTo>
                <a:close/>
                <a:moveTo>
                  <a:pt x="461544" y="453717"/>
                </a:moveTo>
                <a:cubicBezTo>
                  <a:pt x="475965" y="453717"/>
                  <a:pt x="487655" y="465407"/>
                  <a:pt x="487655" y="479827"/>
                </a:cubicBezTo>
                <a:cubicBezTo>
                  <a:pt x="487655" y="494249"/>
                  <a:pt x="475965" y="505939"/>
                  <a:pt x="461544" y="505939"/>
                </a:cubicBezTo>
                <a:cubicBezTo>
                  <a:pt x="447123" y="505939"/>
                  <a:pt x="435433" y="494249"/>
                  <a:pt x="435433" y="479827"/>
                </a:cubicBezTo>
                <a:cubicBezTo>
                  <a:pt x="435433" y="465407"/>
                  <a:pt x="447123" y="453717"/>
                  <a:pt x="461544" y="453717"/>
                </a:cubicBezTo>
                <a:close/>
                <a:moveTo>
                  <a:pt x="679258" y="453717"/>
                </a:moveTo>
                <a:cubicBezTo>
                  <a:pt x="693679" y="453717"/>
                  <a:pt x="705369" y="465407"/>
                  <a:pt x="705369" y="479827"/>
                </a:cubicBezTo>
                <a:cubicBezTo>
                  <a:pt x="705369" y="494249"/>
                  <a:pt x="693679" y="505939"/>
                  <a:pt x="679258" y="505939"/>
                </a:cubicBezTo>
                <a:cubicBezTo>
                  <a:pt x="664837" y="505939"/>
                  <a:pt x="653147" y="494249"/>
                  <a:pt x="653147" y="479827"/>
                </a:cubicBezTo>
                <a:cubicBezTo>
                  <a:pt x="653147" y="465407"/>
                  <a:pt x="664837" y="453717"/>
                  <a:pt x="679258" y="453717"/>
                </a:cubicBezTo>
                <a:close/>
                <a:moveTo>
                  <a:pt x="896973" y="453717"/>
                </a:moveTo>
                <a:cubicBezTo>
                  <a:pt x="911394" y="453717"/>
                  <a:pt x="923084" y="465406"/>
                  <a:pt x="923084" y="479827"/>
                </a:cubicBezTo>
                <a:cubicBezTo>
                  <a:pt x="923084" y="494248"/>
                  <a:pt x="911394" y="505939"/>
                  <a:pt x="896973" y="505939"/>
                </a:cubicBezTo>
                <a:cubicBezTo>
                  <a:pt x="882552" y="505939"/>
                  <a:pt x="870862" y="494248"/>
                  <a:pt x="870862" y="479827"/>
                </a:cubicBezTo>
                <a:cubicBezTo>
                  <a:pt x="870862" y="465406"/>
                  <a:pt x="882552" y="453717"/>
                  <a:pt x="896973" y="453717"/>
                </a:cubicBezTo>
                <a:close/>
                <a:moveTo>
                  <a:pt x="1114687" y="453717"/>
                </a:moveTo>
                <a:cubicBezTo>
                  <a:pt x="1129108" y="453717"/>
                  <a:pt x="1140798" y="465406"/>
                  <a:pt x="1140798" y="479827"/>
                </a:cubicBezTo>
                <a:cubicBezTo>
                  <a:pt x="1140798" y="494248"/>
                  <a:pt x="1129108" y="505938"/>
                  <a:pt x="1114687" y="505938"/>
                </a:cubicBezTo>
                <a:cubicBezTo>
                  <a:pt x="1100266" y="505938"/>
                  <a:pt x="1088576" y="494248"/>
                  <a:pt x="1088576" y="479827"/>
                </a:cubicBezTo>
                <a:cubicBezTo>
                  <a:pt x="1088576" y="465406"/>
                  <a:pt x="1100266" y="453717"/>
                  <a:pt x="1114687" y="453717"/>
                </a:cubicBezTo>
                <a:close/>
                <a:moveTo>
                  <a:pt x="1332400" y="453716"/>
                </a:moveTo>
                <a:cubicBezTo>
                  <a:pt x="1346821" y="453716"/>
                  <a:pt x="1358511" y="465406"/>
                  <a:pt x="1358511" y="479827"/>
                </a:cubicBezTo>
                <a:cubicBezTo>
                  <a:pt x="1358511" y="494248"/>
                  <a:pt x="1346821" y="505938"/>
                  <a:pt x="1332400" y="505938"/>
                </a:cubicBezTo>
                <a:cubicBezTo>
                  <a:pt x="1317979" y="505938"/>
                  <a:pt x="1306289" y="494248"/>
                  <a:pt x="1306289" y="479827"/>
                </a:cubicBezTo>
                <a:cubicBezTo>
                  <a:pt x="1306289" y="465406"/>
                  <a:pt x="1317979" y="453716"/>
                  <a:pt x="1332400" y="453716"/>
                </a:cubicBezTo>
                <a:close/>
                <a:moveTo>
                  <a:pt x="1550114" y="453716"/>
                </a:moveTo>
                <a:cubicBezTo>
                  <a:pt x="1564535" y="453716"/>
                  <a:pt x="1576225" y="465406"/>
                  <a:pt x="1576225" y="479827"/>
                </a:cubicBezTo>
                <a:cubicBezTo>
                  <a:pt x="1576225" y="494248"/>
                  <a:pt x="1564535" y="505938"/>
                  <a:pt x="1550114" y="505938"/>
                </a:cubicBezTo>
                <a:cubicBezTo>
                  <a:pt x="1535693" y="505938"/>
                  <a:pt x="1524003" y="494248"/>
                  <a:pt x="1524003" y="479827"/>
                </a:cubicBezTo>
                <a:cubicBezTo>
                  <a:pt x="1524003" y="465406"/>
                  <a:pt x="1535693" y="453716"/>
                  <a:pt x="1550114" y="453716"/>
                </a:cubicBezTo>
                <a:close/>
                <a:moveTo>
                  <a:pt x="1114688" y="226858"/>
                </a:moveTo>
                <a:cubicBezTo>
                  <a:pt x="1129109" y="226858"/>
                  <a:pt x="1140799" y="238548"/>
                  <a:pt x="1140799" y="252969"/>
                </a:cubicBezTo>
                <a:cubicBezTo>
                  <a:pt x="1140799" y="267390"/>
                  <a:pt x="1129109" y="279080"/>
                  <a:pt x="1114688" y="279080"/>
                </a:cubicBezTo>
                <a:cubicBezTo>
                  <a:pt x="1100267" y="279080"/>
                  <a:pt x="1088577" y="267390"/>
                  <a:pt x="1088577" y="252969"/>
                </a:cubicBezTo>
                <a:cubicBezTo>
                  <a:pt x="1088577" y="238548"/>
                  <a:pt x="1100267" y="226858"/>
                  <a:pt x="1114688" y="226858"/>
                </a:cubicBezTo>
                <a:close/>
                <a:moveTo>
                  <a:pt x="896974" y="226858"/>
                </a:moveTo>
                <a:cubicBezTo>
                  <a:pt x="911395" y="226858"/>
                  <a:pt x="923085" y="238548"/>
                  <a:pt x="923085" y="252969"/>
                </a:cubicBezTo>
                <a:cubicBezTo>
                  <a:pt x="923085" y="267390"/>
                  <a:pt x="911395" y="279080"/>
                  <a:pt x="896974" y="279080"/>
                </a:cubicBezTo>
                <a:cubicBezTo>
                  <a:pt x="882553" y="279080"/>
                  <a:pt x="870863" y="267390"/>
                  <a:pt x="870863" y="252969"/>
                </a:cubicBezTo>
                <a:cubicBezTo>
                  <a:pt x="870863" y="238548"/>
                  <a:pt x="882553" y="226858"/>
                  <a:pt x="896974" y="226858"/>
                </a:cubicBezTo>
                <a:close/>
                <a:moveTo>
                  <a:pt x="679259" y="226858"/>
                </a:moveTo>
                <a:cubicBezTo>
                  <a:pt x="693680" y="226858"/>
                  <a:pt x="705370" y="238548"/>
                  <a:pt x="705370" y="252970"/>
                </a:cubicBezTo>
                <a:cubicBezTo>
                  <a:pt x="705370" y="267391"/>
                  <a:pt x="693680" y="279080"/>
                  <a:pt x="679259" y="279080"/>
                </a:cubicBezTo>
                <a:cubicBezTo>
                  <a:pt x="664838" y="279080"/>
                  <a:pt x="653148" y="267391"/>
                  <a:pt x="653148" y="252970"/>
                </a:cubicBezTo>
                <a:cubicBezTo>
                  <a:pt x="653148" y="238548"/>
                  <a:pt x="664838" y="226858"/>
                  <a:pt x="679259" y="226858"/>
                </a:cubicBezTo>
                <a:close/>
                <a:moveTo>
                  <a:pt x="461545" y="226858"/>
                </a:moveTo>
                <a:cubicBezTo>
                  <a:pt x="475966" y="226858"/>
                  <a:pt x="487656" y="238549"/>
                  <a:pt x="487656" y="252970"/>
                </a:cubicBezTo>
                <a:cubicBezTo>
                  <a:pt x="487656" y="267391"/>
                  <a:pt x="475966" y="279081"/>
                  <a:pt x="461545" y="279081"/>
                </a:cubicBezTo>
                <a:cubicBezTo>
                  <a:pt x="447124" y="279081"/>
                  <a:pt x="435434" y="267391"/>
                  <a:pt x="435434" y="252970"/>
                </a:cubicBezTo>
                <a:cubicBezTo>
                  <a:pt x="435434" y="238549"/>
                  <a:pt x="447124" y="226858"/>
                  <a:pt x="461545" y="226858"/>
                </a:cubicBezTo>
                <a:close/>
                <a:moveTo>
                  <a:pt x="243831" y="226858"/>
                </a:moveTo>
                <a:cubicBezTo>
                  <a:pt x="258252" y="226858"/>
                  <a:pt x="269942" y="238549"/>
                  <a:pt x="269942" y="252970"/>
                </a:cubicBezTo>
                <a:cubicBezTo>
                  <a:pt x="269942" y="267391"/>
                  <a:pt x="258252" y="279081"/>
                  <a:pt x="243831" y="279081"/>
                </a:cubicBezTo>
                <a:cubicBezTo>
                  <a:pt x="229410" y="279081"/>
                  <a:pt x="217720" y="267391"/>
                  <a:pt x="217720" y="252970"/>
                </a:cubicBezTo>
                <a:cubicBezTo>
                  <a:pt x="217720" y="238549"/>
                  <a:pt x="229410" y="226858"/>
                  <a:pt x="243831" y="226858"/>
                </a:cubicBezTo>
                <a:close/>
                <a:moveTo>
                  <a:pt x="26117" y="226858"/>
                </a:moveTo>
                <a:cubicBezTo>
                  <a:pt x="40538" y="226858"/>
                  <a:pt x="52228" y="238549"/>
                  <a:pt x="52228" y="252970"/>
                </a:cubicBezTo>
                <a:cubicBezTo>
                  <a:pt x="52228" y="267391"/>
                  <a:pt x="40538" y="279081"/>
                  <a:pt x="26117" y="279081"/>
                </a:cubicBezTo>
                <a:cubicBezTo>
                  <a:pt x="11696" y="279081"/>
                  <a:pt x="6" y="267391"/>
                  <a:pt x="6" y="252970"/>
                </a:cubicBezTo>
                <a:cubicBezTo>
                  <a:pt x="6" y="238549"/>
                  <a:pt x="11696" y="226858"/>
                  <a:pt x="26117" y="226858"/>
                </a:cubicBezTo>
                <a:close/>
                <a:moveTo>
                  <a:pt x="1332401" y="226858"/>
                </a:moveTo>
                <a:cubicBezTo>
                  <a:pt x="1346822" y="226858"/>
                  <a:pt x="1358512" y="238548"/>
                  <a:pt x="1358512" y="252969"/>
                </a:cubicBezTo>
                <a:cubicBezTo>
                  <a:pt x="1358512" y="267390"/>
                  <a:pt x="1346822" y="279080"/>
                  <a:pt x="1332401" y="279080"/>
                </a:cubicBezTo>
                <a:cubicBezTo>
                  <a:pt x="1317980" y="279080"/>
                  <a:pt x="1306290" y="267390"/>
                  <a:pt x="1306290" y="252969"/>
                </a:cubicBezTo>
                <a:cubicBezTo>
                  <a:pt x="1306290" y="238548"/>
                  <a:pt x="1317980" y="226858"/>
                  <a:pt x="1332401" y="226858"/>
                </a:cubicBezTo>
                <a:close/>
                <a:moveTo>
                  <a:pt x="1550115" y="226858"/>
                </a:moveTo>
                <a:cubicBezTo>
                  <a:pt x="1564536" y="226858"/>
                  <a:pt x="1576226" y="238548"/>
                  <a:pt x="1576226" y="252969"/>
                </a:cubicBezTo>
                <a:cubicBezTo>
                  <a:pt x="1576226" y="267390"/>
                  <a:pt x="1564536" y="279080"/>
                  <a:pt x="1550115" y="279080"/>
                </a:cubicBezTo>
                <a:cubicBezTo>
                  <a:pt x="1535694" y="279080"/>
                  <a:pt x="1524004" y="267390"/>
                  <a:pt x="1524004" y="252969"/>
                </a:cubicBezTo>
                <a:cubicBezTo>
                  <a:pt x="1524004" y="238548"/>
                  <a:pt x="1535694" y="226858"/>
                  <a:pt x="1550115" y="226858"/>
                </a:cubicBezTo>
                <a:close/>
                <a:moveTo>
                  <a:pt x="26117" y="2"/>
                </a:moveTo>
                <a:cubicBezTo>
                  <a:pt x="40538" y="2"/>
                  <a:pt x="52228" y="11692"/>
                  <a:pt x="52228" y="26113"/>
                </a:cubicBezTo>
                <a:cubicBezTo>
                  <a:pt x="52228" y="40534"/>
                  <a:pt x="40538" y="52224"/>
                  <a:pt x="26117" y="52224"/>
                </a:cubicBezTo>
                <a:cubicBezTo>
                  <a:pt x="11696" y="52224"/>
                  <a:pt x="6" y="40534"/>
                  <a:pt x="6" y="26113"/>
                </a:cubicBezTo>
                <a:cubicBezTo>
                  <a:pt x="6" y="11692"/>
                  <a:pt x="11696" y="2"/>
                  <a:pt x="26117" y="2"/>
                </a:cubicBezTo>
                <a:close/>
                <a:moveTo>
                  <a:pt x="243831" y="1"/>
                </a:moveTo>
                <a:cubicBezTo>
                  <a:pt x="258252" y="1"/>
                  <a:pt x="269942" y="11691"/>
                  <a:pt x="269942" y="26112"/>
                </a:cubicBezTo>
                <a:cubicBezTo>
                  <a:pt x="269942" y="40534"/>
                  <a:pt x="258252" y="52224"/>
                  <a:pt x="243831" y="52224"/>
                </a:cubicBezTo>
                <a:cubicBezTo>
                  <a:pt x="229410" y="52224"/>
                  <a:pt x="217720" y="40534"/>
                  <a:pt x="217720" y="26112"/>
                </a:cubicBezTo>
                <a:cubicBezTo>
                  <a:pt x="217720" y="11691"/>
                  <a:pt x="229410" y="1"/>
                  <a:pt x="243831" y="1"/>
                </a:cubicBezTo>
                <a:close/>
                <a:moveTo>
                  <a:pt x="461545" y="1"/>
                </a:moveTo>
                <a:cubicBezTo>
                  <a:pt x="475966" y="1"/>
                  <a:pt x="487656" y="11691"/>
                  <a:pt x="487656" y="26112"/>
                </a:cubicBezTo>
                <a:cubicBezTo>
                  <a:pt x="487656" y="40534"/>
                  <a:pt x="475966" y="52224"/>
                  <a:pt x="461545" y="52224"/>
                </a:cubicBezTo>
                <a:cubicBezTo>
                  <a:pt x="447124" y="52224"/>
                  <a:pt x="435434" y="40534"/>
                  <a:pt x="435434" y="26112"/>
                </a:cubicBezTo>
                <a:cubicBezTo>
                  <a:pt x="435434" y="11691"/>
                  <a:pt x="447124" y="1"/>
                  <a:pt x="461545" y="1"/>
                </a:cubicBezTo>
                <a:close/>
                <a:moveTo>
                  <a:pt x="679259" y="1"/>
                </a:moveTo>
                <a:cubicBezTo>
                  <a:pt x="693680" y="1"/>
                  <a:pt x="705370" y="11691"/>
                  <a:pt x="705370" y="26112"/>
                </a:cubicBezTo>
                <a:cubicBezTo>
                  <a:pt x="705370" y="40533"/>
                  <a:pt x="693680" y="52223"/>
                  <a:pt x="679259" y="52223"/>
                </a:cubicBezTo>
                <a:cubicBezTo>
                  <a:pt x="664838" y="52223"/>
                  <a:pt x="653148" y="40533"/>
                  <a:pt x="653148" y="26112"/>
                </a:cubicBezTo>
                <a:cubicBezTo>
                  <a:pt x="653148" y="11691"/>
                  <a:pt x="664838" y="1"/>
                  <a:pt x="679259" y="1"/>
                </a:cubicBezTo>
                <a:close/>
                <a:moveTo>
                  <a:pt x="896974" y="1"/>
                </a:moveTo>
                <a:cubicBezTo>
                  <a:pt x="911395" y="1"/>
                  <a:pt x="923085" y="11691"/>
                  <a:pt x="923085" y="26112"/>
                </a:cubicBezTo>
                <a:cubicBezTo>
                  <a:pt x="923085" y="40533"/>
                  <a:pt x="911395" y="52223"/>
                  <a:pt x="896974" y="52223"/>
                </a:cubicBezTo>
                <a:cubicBezTo>
                  <a:pt x="882553" y="52223"/>
                  <a:pt x="870863" y="40533"/>
                  <a:pt x="870863" y="26112"/>
                </a:cubicBezTo>
                <a:cubicBezTo>
                  <a:pt x="870863" y="11691"/>
                  <a:pt x="882553" y="1"/>
                  <a:pt x="896974" y="1"/>
                </a:cubicBezTo>
                <a:close/>
                <a:moveTo>
                  <a:pt x="1114688" y="1"/>
                </a:moveTo>
                <a:cubicBezTo>
                  <a:pt x="1129109" y="1"/>
                  <a:pt x="1140799" y="11691"/>
                  <a:pt x="1140799" y="26112"/>
                </a:cubicBezTo>
                <a:cubicBezTo>
                  <a:pt x="1140799" y="40533"/>
                  <a:pt x="1129109" y="52223"/>
                  <a:pt x="1114688" y="52223"/>
                </a:cubicBezTo>
                <a:cubicBezTo>
                  <a:pt x="1100267" y="52223"/>
                  <a:pt x="1088577" y="40533"/>
                  <a:pt x="1088577" y="26112"/>
                </a:cubicBezTo>
                <a:cubicBezTo>
                  <a:pt x="1088577" y="11691"/>
                  <a:pt x="1100267" y="1"/>
                  <a:pt x="1114688" y="1"/>
                </a:cubicBezTo>
                <a:close/>
                <a:moveTo>
                  <a:pt x="1332401" y="0"/>
                </a:moveTo>
                <a:cubicBezTo>
                  <a:pt x="1346822" y="0"/>
                  <a:pt x="1358512" y="11690"/>
                  <a:pt x="1358512" y="26111"/>
                </a:cubicBezTo>
                <a:cubicBezTo>
                  <a:pt x="1358512" y="40533"/>
                  <a:pt x="1346822" y="52223"/>
                  <a:pt x="1332401" y="52223"/>
                </a:cubicBezTo>
                <a:cubicBezTo>
                  <a:pt x="1317980" y="52223"/>
                  <a:pt x="1306290" y="40533"/>
                  <a:pt x="1306290" y="26111"/>
                </a:cubicBezTo>
                <a:cubicBezTo>
                  <a:pt x="1306290" y="11690"/>
                  <a:pt x="1317980" y="0"/>
                  <a:pt x="1332401" y="0"/>
                </a:cubicBezTo>
                <a:close/>
                <a:moveTo>
                  <a:pt x="1550115" y="0"/>
                </a:moveTo>
                <a:cubicBezTo>
                  <a:pt x="1564536" y="0"/>
                  <a:pt x="1576226" y="11690"/>
                  <a:pt x="1576226" y="26111"/>
                </a:cubicBezTo>
                <a:cubicBezTo>
                  <a:pt x="1576226" y="40532"/>
                  <a:pt x="1564536" y="52222"/>
                  <a:pt x="1550115" y="52222"/>
                </a:cubicBezTo>
                <a:cubicBezTo>
                  <a:pt x="1535694" y="52222"/>
                  <a:pt x="1524004" y="40532"/>
                  <a:pt x="1524004" y="26111"/>
                </a:cubicBezTo>
                <a:cubicBezTo>
                  <a:pt x="1524004" y="11690"/>
                  <a:pt x="1535694" y="0"/>
                  <a:pt x="1550115" y="0"/>
                </a:cubicBezTo>
                <a:close/>
              </a:path>
            </a:pathLst>
          </a:custGeom>
          <a:solidFill>
            <a:srgbClr val="FFCF01">
              <a:alpha val="8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id-ID"/>
          </a:p>
        </p:txBody>
      </p:sp>
    </p:spTree>
    <p:extLst>
      <p:ext uri="{BB962C8B-B14F-4D97-AF65-F5344CB8AC3E}">
        <p14:creationId xmlns:p14="http://schemas.microsoft.com/office/powerpoint/2010/main" val="236781825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2_Title Slid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C5C7C2E9-94E0-47F7-9539-2D29F1C7C4BB}"/>
              </a:ext>
            </a:extLst>
          </p:cNvPr>
          <p:cNvSpPr/>
          <p:nvPr userDrawn="1"/>
        </p:nvSpPr>
        <p:spPr>
          <a:xfrm>
            <a:off x="4718412" y="4684894"/>
            <a:ext cx="1244138" cy="1329300"/>
          </a:xfrm>
          <a:prstGeom prst="rect">
            <a:avLst/>
          </a:prstGeom>
          <a:solidFill>
            <a:srgbClr val="FFCF01">
              <a:alpha val="9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p>
        </p:txBody>
      </p:sp>
      <p:sp>
        <p:nvSpPr>
          <p:cNvPr id="3" name="Picture Placeholder 3">
            <a:extLst>
              <a:ext uri="{FF2B5EF4-FFF2-40B4-BE49-F238E27FC236}">
                <a16:creationId xmlns:a16="http://schemas.microsoft.com/office/drawing/2014/main" id="{78665180-55A4-45D2-BEF6-25A1D81BF86B}"/>
              </a:ext>
            </a:extLst>
          </p:cNvPr>
          <p:cNvSpPr>
            <a:spLocks noGrp="1"/>
          </p:cNvSpPr>
          <p:nvPr>
            <p:ph type="pic" sz="quarter" idx="12"/>
          </p:nvPr>
        </p:nvSpPr>
        <p:spPr>
          <a:xfrm>
            <a:off x="1480008" y="1498510"/>
            <a:ext cx="4021233" cy="4021233"/>
          </a:xfrm>
          <a:pattFill prst="ltUpDiag">
            <a:fgClr>
              <a:schemeClr val="accent1"/>
            </a:fgClr>
            <a:bgClr>
              <a:schemeClr val="bg1"/>
            </a:bgClr>
          </a:pattFill>
          <a:ln w="25400">
            <a:noFill/>
          </a:ln>
          <a:effectLst>
            <a:outerShdw blurRad="609600" dist="723900" dir="5400000" sx="88000" sy="88000" algn="t" rotWithShape="0">
              <a:prstClr val="black">
                <a:alpha val="35000"/>
              </a:prstClr>
            </a:outerShdw>
          </a:effectLst>
        </p:spPr>
        <p:txBody>
          <a:bodyPr>
            <a:noAutofit/>
          </a:bodyPr>
          <a:lstStyle>
            <a:lvl1pPr>
              <a:defRPr sz="1000">
                <a:latin typeface="Arial" panose="020B0604020202020204" pitchFamily="34" charset="0"/>
                <a:cs typeface="Arial" panose="020B0604020202020204" pitchFamily="34" charset="0"/>
              </a:defRPr>
            </a:lvl1pPr>
          </a:lstStyle>
          <a:p>
            <a:endParaRPr lang="en-ID"/>
          </a:p>
        </p:txBody>
      </p:sp>
    </p:spTree>
    <p:extLst>
      <p:ext uri="{BB962C8B-B14F-4D97-AF65-F5344CB8AC3E}">
        <p14:creationId xmlns:p14="http://schemas.microsoft.com/office/powerpoint/2010/main" val="370492485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4_Title Slide">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4CEF0296-E9FD-4649-96D2-023152DD7007}"/>
              </a:ext>
            </a:extLst>
          </p:cNvPr>
          <p:cNvSpPr>
            <a:spLocks noGrp="1"/>
          </p:cNvSpPr>
          <p:nvPr>
            <p:ph type="pic" sz="quarter" idx="10"/>
          </p:nvPr>
        </p:nvSpPr>
        <p:spPr>
          <a:xfrm>
            <a:off x="0" y="0"/>
            <a:ext cx="5731497" cy="6858000"/>
          </a:xfrm>
          <a:pattFill prst="ltUpDiag">
            <a:fgClr>
              <a:schemeClr val="accent1"/>
            </a:fgClr>
            <a:bgClr>
              <a:schemeClr val="bg1"/>
            </a:bgClr>
          </a:pattFill>
        </p:spPr>
        <p:txBody>
          <a:bodyPr>
            <a:noAutofit/>
          </a:bodyPr>
          <a:lstStyle>
            <a:lvl1pPr>
              <a:defRPr sz="1000">
                <a:latin typeface="Arial" panose="020B0604020202020204" pitchFamily="34" charset="0"/>
                <a:cs typeface="Arial" panose="020B0604020202020204" pitchFamily="34" charset="0"/>
              </a:defRPr>
            </a:lvl1pPr>
          </a:lstStyle>
          <a:p>
            <a:endParaRPr lang="en-ID"/>
          </a:p>
        </p:txBody>
      </p:sp>
    </p:spTree>
    <p:extLst>
      <p:ext uri="{BB962C8B-B14F-4D97-AF65-F5344CB8AC3E}">
        <p14:creationId xmlns:p14="http://schemas.microsoft.com/office/powerpoint/2010/main" val="175430553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3_Title Slide">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D970D3EB-B933-4214-8E77-32CF0D47C9AE}"/>
              </a:ext>
            </a:extLst>
          </p:cNvPr>
          <p:cNvSpPr>
            <a:spLocks noGrp="1"/>
          </p:cNvSpPr>
          <p:nvPr>
            <p:ph type="pic" sz="quarter" idx="10"/>
          </p:nvPr>
        </p:nvSpPr>
        <p:spPr>
          <a:xfrm>
            <a:off x="584462" y="1168924"/>
            <a:ext cx="3993821" cy="4656841"/>
          </a:xfrm>
          <a:pattFill prst="ltUpDiag">
            <a:fgClr>
              <a:schemeClr val="accent1"/>
            </a:fgClr>
            <a:bgClr>
              <a:schemeClr val="bg1"/>
            </a:bgClr>
          </a:pattFill>
        </p:spPr>
        <p:txBody>
          <a:bodyPr>
            <a:noAutofit/>
          </a:bodyPr>
          <a:lstStyle>
            <a:lvl1pPr>
              <a:defRPr sz="1000">
                <a:latin typeface="Arial" panose="020B0604020202020204" pitchFamily="34" charset="0"/>
                <a:cs typeface="Arial" panose="020B0604020202020204" pitchFamily="34" charset="0"/>
              </a:defRPr>
            </a:lvl1pPr>
          </a:lstStyle>
          <a:p>
            <a:endParaRPr lang="en-ID"/>
          </a:p>
        </p:txBody>
      </p:sp>
    </p:spTree>
    <p:extLst>
      <p:ext uri="{BB962C8B-B14F-4D97-AF65-F5344CB8AC3E}">
        <p14:creationId xmlns:p14="http://schemas.microsoft.com/office/powerpoint/2010/main" val="25474089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0F9C3B0-5AF1-4606-BB97-F269325ADDEC}"/>
              </a:ext>
            </a:extLst>
          </p:cNvPr>
          <p:cNvSpPr/>
          <p:nvPr userDrawn="1"/>
        </p:nvSpPr>
        <p:spPr>
          <a:xfrm>
            <a:off x="1" y="0"/>
            <a:ext cx="12192000" cy="6858000"/>
          </a:xfrm>
          <a:prstGeom prst="rect">
            <a:avLst/>
          </a:prstGeom>
          <a:solidFill>
            <a:srgbClr val="2C292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p>
        </p:txBody>
      </p:sp>
      <p:grpSp>
        <p:nvGrpSpPr>
          <p:cNvPr id="5" name="Graphic 66">
            <a:extLst>
              <a:ext uri="{FF2B5EF4-FFF2-40B4-BE49-F238E27FC236}">
                <a16:creationId xmlns:a16="http://schemas.microsoft.com/office/drawing/2014/main" id="{3BE694E6-A47F-4592-931A-64D60C8BD111}"/>
              </a:ext>
            </a:extLst>
          </p:cNvPr>
          <p:cNvGrpSpPr/>
          <p:nvPr userDrawn="1"/>
        </p:nvGrpSpPr>
        <p:grpSpPr>
          <a:xfrm>
            <a:off x="-477186" y="3375383"/>
            <a:ext cx="3983973" cy="4667356"/>
            <a:chOff x="4240193" y="843710"/>
            <a:chExt cx="481660" cy="564281"/>
          </a:xfrm>
        </p:grpSpPr>
        <p:sp>
          <p:nvSpPr>
            <p:cNvPr id="6" name="Freeform: Shape 5">
              <a:extLst>
                <a:ext uri="{FF2B5EF4-FFF2-40B4-BE49-F238E27FC236}">
                  <a16:creationId xmlns:a16="http://schemas.microsoft.com/office/drawing/2014/main" id="{1B58289D-8956-45E2-9C1C-62EAAB7433F5}"/>
                </a:ext>
              </a:extLst>
            </p:cNvPr>
            <p:cNvSpPr/>
            <p:nvPr/>
          </p:nvSpPr>
          <p:spPr>
            <a:xfrm>
              <a:off x="4369611" y="973104"/>
              <a:ext cx="260765" cy="305489"/>
            </a:xfrm>
            <a:custGeom>
              <a:avLst/>
              <a:gdLst>
                <a:gd name="connsiteX0" fmla="*/ -158 w 260765"/>
                <a:gd name="connsiteY0" fmla="*/ 152668 h 305489"/>
                <a:gd name="connsiteX1" fmla="*/ 152588 w 260765"/>
                <a:gd name="connsiteY1" fmla="*/ 305421 h 305489"/>
                <a:gd name="connsiteX2" fmla="*/ 260607 w 260765"/>
                <a:gd name="connsiteY2" fmla="*/ 260672 h 305489"/>
                <a:gd name="connsiteX3" fmla="*/ 152603 w 260765"/>
                <a:gd name="connsiteY3" fmla="*/ 152653 h 305489"/>
                <a:gd name="connsiteX4" fmla="*/ 260592 w 260765"/>
                <a:gd name="connsiteY4" fmla="*/ 44665 h 305489"/>
                <a:gd name="connsiteX5" fmla="*/ 44569 w 260765"/>
                <a:gd name="connsiteY5" fmla="*/ 44673 h 305489"/>
                <a:gd name="connsiteX6" fmla="*/ -158 w 260765"/>
                <a:gd name="connsiteY6" fmla="*/ 152668 h 3054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0765" h="305489">
                  <a:moveTo>
                    <a:pt x="-158" y="152668"/>
                  </a:moveTo>
                  <a:cubicBezTo>
                    <a:pt x="-158" y="237028"/>
                    <a:pt x="68220" y="305418"/>
                    <a:pt x="152588" y="305421"/>
                  </a:cubicBezTo>
                  <a:cubicBezTo>
                    <a:pt x="193106" y="305423"/>
                    <a:pt x="231959" y="289326"/>
                    <a:pt x="260607" y="260672"/>
                  </a:cubicBezTo>
                  <a:lnTo>
                    <a:pt x="152603" y="152653"/>
                  </a:lnTo>
                  <a:lnTo>
                    <a:pt x="260592" y="44665"/>
                  </a:lnTo>
                  <a:cubicBezTo>
                    <a:pt x="200945" y="-14984"/>
                    <a:pt x="104231" y="-14981"/>
                    <a:pt x="44569" y="44673"/>
                  </a:cubicBezTo>
                  <a:cubicBezTo>
                    <a:pt x="15936" y="73316"/>
                    <a:pt x="-158" y="112162"/>
                    <a:pt x="-158" y="152668"/>
                  </a:cubicBezTo>
                  <a:close/>
                </a:path>
              </a:pathLst>
            </a:custGeom>
            <a:noFill/>
            <a:ln w="14868" cap="flat">
              <a:noFill/>
              <a:prstDash val="solid"/>
              <a:miter/>
            </a:ln>
          </p:spPr>
          <p:txBody>
            <a:bodyPr rtlCol="0" anchor="ctr"/>
            <a:lstStyle/>
            <a:p>
              <a:endParaRPr lang="en-ID"/>
            </a:p>
          </p:txBody>
        </p:sp>
        <p:sp>
          <p:nvSpPr>
            <p:cNvPr id="7" name="Freeform: Shape 6">
              <a:extLst>
                <a:ext uri="{FF2B5EF4-FFF2-40B4-BE49-F238E27FC236}">
                  <a16:creationId xmlns:a16="http://schemas.microsoft.com/office/drawing/2014/main" id="{1E418986-65E9-4E9F-8271-07ED9CBDFA92}"/>
                </a:ext>
              </a:extLst>
            </p:cNvPr>
            <p:cNvSpPr/>
            <p:nvPr/>
          </p:nvSpPr>
          <p:spPr>
            <a:xfrm>
              <a:off x="4240193" y="843710"/>
              <a:ext cx="481660" cy="564281"/>
            </a:xfrm>
            <a:custGeom>
              <a:avLst/>
              <a:gdLst>
                <a:gd name="connsiteX0" fmla="*/ 282005 w 481660"/>
                <a:gd name="connsiteY0" fmla="*/ 434809 h 564281"/>
                <a:gd name="connsiteX1" fmla="*/ 129244 w 481660"/>
                <a:gd name="connsiteY1" fmla="*/ 282072 h 564281"/>
                <a:gd name="connsiteX2" fmla="*/ 281991 w 481660"/>
                <a:gd name="connsiteY2" fmla="*/ 129317 h 564281"/>
                <a:gd name="connsiteX3" fmla="*/ 390009 w 481660"/>
                <a:gd name="connsiteY3" fmla="*/ 174059 h 564281"/>
                <a:gd name="connsiteX4" fmla="*/ 481502 w 481660"/>
                <a:gd name="connsiteY4" fmla="*/ 82581 h 564281"/>
                <a:gd name="connsiteX5" fmla="*/ 82494 w 481660"/>
                <a:gd name="connsiteY5" fmla="*/ 82554 h 564281"/>
                <a:gd name="connsiteX6" fmla="*/ 82464 w 481660"/>
                <a:gd name="connsiteY6" fmla="*/ 481560 h 564281"/>
                <a:gd name="connsiteX7" fmla="*/ 481473 w 481660"/>
                <a:gd name="connsiteY7" fmla="*/ 481590 h 564281"/>
                <a:gd name="connsiteX8" fmla="*/ 481502 w 481660"/>
                <a:gd name="connsiteY8" fmla="*/ 481560 h 564281"/>
                <a:gd name="connsiteX9" fmla="*/ 390024 w 481660"/>
                <a:gd name="connsiteY9" fmla="*/ 390067 h 564281"/>
                <a:gd name="connsiteX10" fmla="*/ 282005 w 481660"/>
                <a:gd name="connsiteY10" fmla="*/ 434809 h 5642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81660" h="564281">
                  <a:moveTo>
                    <a:pt x="282005" y="434809"/>
                  </a:moveTo>
                  <a:cubicBezTo>
                    <a:pt x="197652" y="434814"/>
                    <a:pt x="129259" y="366431"/>
                    <a:pt x="129244" y="282072"/>
                  </a:cubicBezTo>
                  <a:cubicBezTo>
                    <a:pt x="129244" y="197713"/>
                    <a:pt x="197623" y="129321"/>
                    <a:pt x="281991" y="129317"/>
                  </a:cubicBezTo>
                  <a:cubicBezTo>
                    <a:pt x="322509" y="129315"/>
                    <a:pt x="361361" y="145410"/>
                    <a:pt x="390009" y="174059"/>
                  </a:cubicBezTo>
                  <a:lnTo>
                    <a:pt x="481502" y="82581"/>
                  </a:lnTo>
                  <a:cubicBezTo>
                    <a:pt x="371327" y="-27609"/>
                    <a:pt x="192684" y="-27621"/>
                    <a:pt x="82494" y="82554"/>
                  </a:cubicBezTo>
                  <a:cubicBezTo>
                    <a:pt x="-27697" y="192730"/>
                    <a:pt x="-27711" y="371370"/>
                    <a:pt x="82464" y="481560"/>
                  </a:cubicBezTo>
                  <a:cubicBezTo>
                    <a:pt x="192639" y="591750"/>
                    <a:pt x="371282" y="591765"/>
                    <a:pt x="481473" y="481590"/>
                  </a:cubicBezTo>
                  <a:cubicBezTo>
                    <a:pt x="481488" y="481575"/>
                    <a:pt x="481488" y="481575"/>
                    <a:pt x="481502" y="481560"/>
                  </a:cubicBezTo>
                  <a:lnTo>
                    <a:pt x="390024" y="390067"/>
                  </a:lnTo>
                  <a:cubicBezTo>
                    <a:pt x="361406" y="418764"/>
                    <a:pt x="322539" y="434867"/>
                    <a:pt x="282005" y="434809"/>
                  </a:cubicBezTo>
                  <a:close/>
                </a:path>
              </a:pathLst>
            </a:custGeom>
            <a:solidFill>
              <a:schemeClr val="tx1">
                <a:lumMod val="95000"/>
                <a:lumOff val="5000"/>
                <a:alpha val="20000"/>
              </a:schemeClr>
            </a:solidFill>
            <a:ln w="14868" cap="flat">
              <a:noFill/>
              <a:prstDash val="solid"/>
              <a:miter/>
            </a:ln>
          </p:spPr>
          <p:txBody>
            <a:bodyPr rtlCol="0" anchor="ctr"/>
            <a:lstStyle/>
            <a:p>
              <a:endParaRPr lang="en-ID"/>
            </a:p>
          </p:txBody>
        </p:sp>
        <p:sp>
          <p:nvSpPr>
            <p:cNvPr id="8" name="Freeform: Shape 7">
              <a:extLst>
                <a:ext uri="{FF2B5EF4-FFF2-40B4-BE49-F238E27FC236}">
                  <a16:creationId xmlns:a16="http://schemas.microsoft.com/office/drawing/2014/main" id="{4996CE56-A827-47C8-9CBB-7F8762C4E65A}"/>
                </a:ext>
              </a:extLst>
            </p:cNvPr>
            <p:cNvSpPr/>
            <p:nvPr/>
          </p:nvSpPr>
          <p:spPr>
            <a:xfrm>
              <a:off x="4522387" y="1017838"/>
              <a:ext cx="152724" cy="216007"/>
            </a:xfrm>
            <a:custGeom>
              <a:avLst/>
              <a:gdLst>
                <a:gd name="connsiteX0" fmla="*/ 107831 w 152724"/>
                <a:gd name="connsiteY0" fmla="*/ 215938 h 216007"/>
                <a:gd name="connsiteX1" fmla="*/ 107831 w 152724"/>
                <a:gd name="connsiteY1" fmla="*/ -69 h 216007"/>
                <a:gd name="connsiteX2" fmla="*/ -158 w 152724"/>
                <a:gd name="connsiteY2" fmla="*/ 107919 h 216007"/>
              </a:gdLst>
              <a:ahLst/>
              <a:cxnLst>
                <a:cxn ang="0">
                  <a:pos x="connsiteX0" y="connsiteY0"/>
                </a:cxn>
                <a:cxn ang="0">
                  <a:pos x="connsiteX1" y="connsiteY1"/>
                </a:cxn>
                <a:cxn ang="0">
                  <a:pos x="connsiteX2" y="connsiteY2"/>
                </a:cxn>
              </a:cxnLst>
              <a:rect l="l" t="t" r="r" b="b"/>
              <a:pathLst>
                <a:path w="152724" h="216007">
                  <a:moveTo>
                    <a:pt x="107831" y="215938"/>
                  </a:moveTo>
                  <a:cubicBezTo>
                    <a:pt x="167477" y="156288"/>
                    <a:pt x="167477" y="59580"/>
                    <a:pt x="107831" y="-69"/>
                  </a:cubicBezTo>
                  <a:lnTo>
                    <a:pt x="-158" y="107919"/>
                  </a:lnTo>
                  <a:close/>
                </a:path>
              </a:pathLst>
            </a:custGeom>
            <a:solidFill>
              <a:srgbClr val="FFCF01">
                <a:alpha val="20000"/>
              </a:srgbClr>
            </a:solidFill>
            <a:ln w="14868" cap="flat">
              <a:noFill/>
              <a:prstDash val="solid"/>
              <a:miter/>
            </a:ln>
          </p:spPr>
          <p:txBody>
            <a:bodyPr rtlCol="0" anchor="ctr"/>
            <a:lstStyle/>
            <a:p>
              <a:endParaRPr lang="en-ID"/>
            </a:p>
          </p:txBody>
        </p:sp>
      </p:grpSp>
      <p:sp>
        <p:nvSpPr>
          <p:cNvPr id="3" name="Picture Placeholder 3">
            <a:extLst>
              <a:ext uri="{FF2B5EF4-FFF2-40B4-BE49-F238E27FC236}">
                <a16:creationId xmlns:a16="http://schemas.microsoft.com/office/drawing/2014/main" id="{CA687F18-5627-4675-8972-C53101CBEF71}"/>
              </a:ext>
            </a:extLst>
          </p:cNvPr>
          <p:cNvSpPr>
            <a:spLocks noGrp="1"/>
          </p:cNvSpPr>
          <p:nvPr>
            <p:ph type="pic" sz="quarter" idx="10"/>
          </p:nvPr>
        </p:nvSpPr>
        <p:spPr>
          <a:xfrm>
            <a:off x="7013542" y="590550"/>
            <a:ext cx="4270342" cy="5676900"/>
          </a:xfrm>
          <a:pattFill prst="ltUpDiag">
            <a:fgClr>
              <a:schemeClr val="accent1"/>
            </a:fgClr>
            <a:bgClr>
              <a:schemeClr val="bg1"/>
            </a:bgClr>
          </a:pattFill>
        </p:spPr>
        <p:txBody>
          <a:bodyPr>
            <a:noAutofit/>
          </a:bodyPr>
          <a:lstStyle>
            <a:lvl1pPr>
              <a:defRPr sz="1000">
                <a:latin typeface="Arial" panose="020B0604020202020204" pitchFamily="34" charset="0"/>
                <a:cs typeface="Arial" panose="020B0604020202020204" pitchFamily="34" charset="0"/>
              </a:defRPr>
            </a:lvl1pPr>
          </a:lstStyle>
          <a:p>
            <a:endParaRPr lang="en-ID"/>
          </a:p>
        </p:txBody>
      </p:sp>
    </p:spTree>
    <p:extLst>
      <p:ext uri="{BB962C8B-B14F-4D97-AF65-F5344CB8AC3E}">
        <p14:creationId xmlns:p14="http://schemas.microsoft.com/office/powerpoint/2010/main" val="185790033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4E564A4E-0803-4117-A8DA-D8E11754D179}"/>
              </a:ext>
            </a:extLst>
          </p:cNvPr>
          <p:cNvSpPr>
            <a:spLocks noGrp="1"/>
          </p:cNvSpPr>
          <p:nvPr>
            <p:ph type="pic" sz="quarter" idx="10"/>
          </p:nvPr>
        </p:nvSpPr>
        <p:spPr>
          <a:xfrm>
            <a:off x="0" y="0"/>
            <a:ext cx="12192000" cy="6858000"/>
          </a:xfrm>
          <a:pattFill prst="ltUpDiag">
            <a:fgClr>
              <a:schemeClr val="accent1"/>
            </a:fgClr>
            <a:bgClr>
              <a:schemeClr val="bg1"/>
            </a:bgClr>
          </a:pattFill>
        </p:spPr>
        <p:txBody>
          <a:bodyPr>
            <a:noAutofit/>
          </a:bodyPr>
          <a:lstStyle>
            <a:lvl1pPr>
              <a:defRPr sz="1000">
                <a:latin typeface="Arial" panose="020B0604020202020204" pitchFamily="34" charset="0"/>
                <a:cs typeface="Arial" panose="020B0604020202020204" pitchFamily="34" charset="0"/>
              </a:defRPr>
            </a:lvl1pPr>
          </a:lstStyle>
          <a:p>
            <a:endParaRPr lang="en-ID"/>
          </a:p>
        </p:txBody>
      </p:sp>
    </p:spTree>
    <p:extLst>
      <p:ext uri="{BB962C8B-B14F-4D97-AF65-F5344CB8AC3E}">
        <p14:creationId xmlns:p14="http://schemas.microsoft.com/office/powerpoint/2010/main" val="194260843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matchingName="Title only" type="titleOnly">
  <p:cSld name="Title only">
    <p:spTree>
      <p:nvGrpSpPr>
        <p:cNvPr id="1" name="Shape 30"/>
        <p:cNvGrpSpPr/>
        <p:nvPr/>
      </p:nvGrpSpPr>
      <p:grpSpPr>
        <a:xfrm>
          <a:off x="0" y="0"/>
          <a:ext cx="0" cy="0"/>
          <a:chOff x="0" y="0"/>
          <a:chExt cx="0" cy="0"/>
        </a:xfrm>
      </p:grpSpPr>
      <p:sp>
        <p:nvSpPr>
          <p:cNvPr id="31" name="Google Shape;31;p6"/>
          <p:cNvSpPr/>
          <p:nvPr/>
        </p:nvSpPr>
        <p:spPr>
          <a:xfrm>
            <a:off x="186200" y="182600"/>
            <a:ext cx="11819600" cy="6492800"/>
          </a:xfrm>
          <a:prstGeom prst="roundRect">
            <a:avLst>
              <a:gd name="adj" fmla="val 2273"/>
            </a:avLst>
          </a:prstGeom>
          <a:solidFill>
            <a:schemeClr val="dk1"/>
          </a:solidFill>
          <a:ln>
            <a:noFill/>
          </a:ln>
          <a:effectLst>
            <a:outerShdw blurRad="57150" dist="19050" dir="5400000" algn="bl" rotWithShape="0">
              <a:srgbClr val="000000">
                <a:alpha val="24000"/>
              </a:srgbClr>
            </a:outerShdw>
          </a:effectLst>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sp>
        <p:nvSpPr>
          <p:cNvPr id="32" name="Google Shape;32;p6"/>
          <p:cNvSpPr txBox="1">
            <a:spLocks noGrp="1"/>
          </p:cNvSpPr>
          <p:nvPr>
            <p:ph type="title"/>
          </p:nvPr>
        </p:nvSpPr>
        <p:spPr>
          <a:xfrm>
            <a:off x="960000" y="426720"/>
            <a:ext cx="10272000" cy="853600"/>
          </a:xfrm>
          <a:prstGeom prst="rect">
            <a:avLst/>
          </a:prstGeom>
        </p:spPr>
        <p:txBody>
          <a:bodyPr spcFirstLastPara="1" wrap="square" lIns="91425" tIns="91425" rIns="91425" bIns="91425" anchor="t" anchorCtr="0">
            <a:noAutofit/>
          </a:bodyPr>
          <a:lstStyle>
            <a:lvl1pPr lvl="0" rtl="0">
              <a:spcBef>
                <a:spcPts val="0"/>
              </a:spcBef>
              <a:spcAft>
                <a:spcPts val="0"/>
              </a:spcAft>
              <a:buSzPts val="3500"/>
              <a:buNone/>
              <a:defRPr/>
            </a:lvl1pPr>
            <a:lvl2pPr lvl="1" rtl="0">
              <a:spcBef>
                <a:spcPts val="0"/>
              </a:spcBef>
              <a:spcAft>
                <a:spcPts val="0"/>
              </a:spcAft>
              <a:buSzPts val="3500"/>
              <a:buNone/>
              <a:defRPr/>
            </a:lvl2pPr>
            <a:lvl3pPr lvl="2" rtl="0">
              <a:spcBef>
                <a:spcPts val="0"/>
              </a:spcBef>
              <a:spcAft>
                <a:spcPts val="0"/>
              </a:spcAft>
              <a:buSzPts val="3500"/>
              <a:buNone/>
              <a:defRPr/>
            </a:lvl3pPr>
            <a:lvl4pPr lvl="3" rtl="0">
              <a:spcBef>
                <a:spcPts val="0"/>
              </a:spcBef>
              <a:spcAft>
                <a:spcPts val="0"/>
              </a:spcAft>
              <a:buSzPts val="3500"/>
              <a:buNone/>
              <a:defRPr/>
            </a:lvl4pPr>
            <a:lvl5pPr lvl="4" rtl="0">
              <a:spcBef>
                <a:spcPts val="0"/>
              </a:spcBef>
              <a:spcAft>
                <a:spcPts val="0"/>
              </a:spcAft>
              <a:buSzPts val="3500"/>
              <a:buNone/>
              <a:defRPr/>
            </a:lvl5pPr>
            <a:lvl6pPr lvl="5" rtl="0">
              <a:spcBef>
                <a:spcPts val="0"/>
              </a:spcBef>
              <a:spcAft>
                <a:spcPts val="0"/>
              </a:spcAft>
              <a:buSzPts val="3500"/>
              <a:buNone/>
              <a:defRPr/>
            </a:lvl6pPr>
            <a:lvl7pPr lvl="6" rtl="0">
              <a:spcBef>
                <a:spcPts val="0"/>
              </a:spcBef>
              <a:spcAft>
                <a:spcPts val="0"/>
              </a:spcAft>
              <a:buSzPts val="3500"/>
              <a:buNone/>
              <a:defRPr/>
            </a:lvl7pPr>
            <a:lvl8pPr lvl="7" rtl="0">
              <a:spcBef>
                <a:spcPts val="0"/>
              </a:spcBef>
              <a:spcAft>
                <a:spcPts val="0"/>
              </a:spcAft>
              <a:buSzPts val="3500"/>
              <a:buNone/>
              <a:defRPr/>
            </a:lvl8pPr>
            <a:lvl9pPr lvl="8" rtl="0">
              <a:spcBef>
                <a:spcPts val="0"/>
              </a:spcBef>
              <a:spcAft>
                <a:spcPts val="0"/>
              </a:spcAft>
              <a:buSzPts val="3500"/>
              <a:buNone/>
              <a:defRPr/>
            </a:lvl9pPr>
          </a:lstStyle>
          <a:p>
            <a:endParaRPr/>
          </a:p>
        </p:txBody>
      </p:sp>
    </p:spTree>
    <p:extLst>
      <p:ext uri="{BB962C8B-B14F-4D97-AF65-F5344CB8AC3E}">
        <p14:creationId xmlns:p14="http://schemas.microsoft.com/office/powerpoint/2010/main" val="129423237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title">
  <p:cSld name="23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US" dirty="0"/>
          </a:p>
        </p:txBody>
      </p:sp>
      <p:sp>
        <p:nvSpPr>
          <p:cNvPr id="3" name="Subtitle 2"/>
          <p:cNvSpPr>
            <a:spLocks noGrp="1"/>
          </p:cNvSpPr>
          <p:nvPr>
            <p:ph type="subTitle" idx="1"/>
          </p:nvPr>
        </p:nvSpPr>
        <p:spPr>
          <a:xfrm>
            <a:off x="1524000" y="3602037"/>
            <a:ext cx="9144000" cy="1655763"/>
          </a:xfrm>
        </p:spPr>
        <p:txBody>
          <a:bodyPr/>
          <a:lstStyle>
            <a:lvl1pPr marL="0" indent="0" algn="ctr">
              <a:buNone/>
              <a:defRPr sz="2400"/>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64A0F834-4C77-4E49-AC59-B6668A49BFC4}" type="datetimeFigureOut">
              <a:rPr lang="en-US" smtClean="0"/>
              <a:t>10/3/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A0F8463-BA90-47A8-BA8F-DBCE6BB48525}" type="slidenum">
              <a:rPr lang="en-US" smtClean="0"/>
              <a:t>‹#›</a:t>
            </a:fld>
            <a:endParaRPr lang="en-US"/>
          </a:p>
        </p:txBody>
      </p:sp>
    </p:spTree>
    <p:extLst>
      <p:ext uri="{BB962C8B-B14F-4D97-AF65-F5344CB8AC3E}">
        <p14:creationId xmlns:p14="http://schemas.microsoft.com/office/powerpoint/2010/main" val="4043583996"/>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04 slide master">
    <p:spTree>
      <p:nvGrpSpPr>
        <p:cNvPr id="1" name=""/>
        <p:cNvGrpSpPr/>
        <p:nvPr/>
      </p:nvGrpSpPr>
      <p:grpSpPr>
        <a:xfrm>
          <a:off x="0" y="0"/>
          <a:ext cx="0" cy="0"/>
          <a:chOff x="0" y="0"/>
          <a:chExt cx="0" cy="0"/>
        </a:xfrm>
      </p:grpSpPr>
      <p:sp>
        <p:nvSpPr>
          <p:cNvPr id="4" name="Picture Placeholder 2">
            <a:extLst>
              <a:ext uri="{FF2B5EF4-FFF2-40B4-BE49-F238E27FC236}">
                <a16:creationId xmlns:a16="http://schemas.microsoft.com/office/drawing/2014/main" id="{84980A28-5BDF-44E3-8A93-2B93E3A8B237}"/>
              </a:ext>
            </a:extLst>
          </p:cNvPr>
          <p:cNvSpPr>
            <a:spLocks noGrp="1"/>
          </p:cNvSpPr>
          <p:nvPr>
            <p:ph type="pic" sz="quarter" idx="10" hasCustomPrompt="1"/>
          </p:nvPr>
        </p:nvSpPr>
        <p:spPr>
          <a:xfrm>
            <a:off x="0" y="3429000"/>
            <a:ext cx="12192000" cy="3429000"/>
          </a:xfrm>
          <a:custGeom>
            <a:avLst/>
            <a:gdLst>
              <a:gd name="connsiteX0" fmla="*/ 0 w 2674962"/>
              <a:gd name="connsiteY0" fmla="*/ 0 h 2388358"/>
              <a:gd name="connsiteX1" fmla="*/ 2674962 w 2674962"/>
              <a:gd name="connsiteY1" fmla="*/ 0 h 2388358"/>
              <a:gd name="connsiteX2" fmla="*/ 2674962 w 2674962"/>
              <a:gd name="connsiteY2" fmla="*/ 2388358 h 2388358"/>
              <a:gd name="connsiteX3" fmla="*/ 0 w 2674962"/>
              <a:gd name="connsiteY3" fmla="*/ 2388358 h 2388358"/>
            </a:gdLst>
            <a:ahLst/>
            <a:cxnLst>
              <a:cxn ang="0">
                <a:pos x="connsiteX0" y="connsiteY0"/>
              </a:cxn>
              <a:cxn ang="0">
                <a:pos x="connsiteX1" y="connsiteY1"/>
              </a:cxn>
              <a:cxn ang="0">
                <a:pos x="connsiteX2" y="connsiteY2"/>
              </a:cxn>
              <a:cxn ang="0">
                <a:pos x="connsiteX3" y="connsiteY3"/>
              </a:cxn>
            </a:cxnLst>
            <a:rect l="l" t="t" r="r" b="b"/>
            <a:pathLst>
              <a:path w="2674962" h="2388358">
                <a:moveTo>
                  <a:pt x="0" y="0"/>
                </a:moveTo>
                <a:lnTo>
                  <a:pt x="2674962" y="0"/>
                </a:lnTo>
                <a:lnTo>
                  <a:pt x="2674962" y="2388358"/>
                </a:lnTo>
                <a:lnTo>
                  <a:pt x="0" y="2388358"/>
                </a:lnTo>
                <a:close/>
              </a:path>
            </a:pathLst>
          </a:custGeom>
          <a:pattFill prst="pct20">
            <a:fgClr>
              <a:schemeClr val="accent1"/>
            </a:fgClr>
            <a:bgClr>
              <a:schemeClr val="bg1"/>
            </a:bgClr>
          </a:pattFill>
        </p:spPr>
        <p:txBody>
          <a:bodyPr wrap="square" anchor="ctr">
            <a:noAutofit/>
          </a:bodyPr>
          <a:lstStyle>
            <a:lvl1pPr marL="0" indent="0" algn="ctr">
              <a:buNone/>
              <a:defRPr/>
            </a:lvl1pPr>
          </a:lstStyle>
          <a:p>
            <a:r>
              <a:rPr lang="en-GB" dirty="0"/>
              <a:t>ADD HERE</a:t>
            </a:r>
          </a:p>
        </p:txBody>
      </p:sp>
    </p:spTree>
    <p:extLst>
      <p:ext uri="{BB962C8B-B14F-4D97-AF65-F5344CB8AC3E}">
        <p14:creationId xmlns:p14="http://schemas.microsoft.com/office/powerpoint/2010/main" val="1296096926"/>
      </p:ext>
    </p:extLst>
  </p:cSld>
  <p:clrMapOvr>
    <a:masterClrMapping/>
  </p:clrMapOvr>
  <p:transition spd="slow">
    <p:push dir="u"/>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2E67B8D-FE3D-F388-74CC-AFC4AC9495E8}"/>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966C1FCA-168C-6AEF-842B-EC8743154522}"/>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059E93D-2DFB-445B-A15E-C2270C8F7214}"/>
              </a:ext>
            </a:extLst>
          </p:cNvPr>
          <p:cNvSpPr>
            <a:spLocks noGrp="1"/>
          </p:cNvSpPr>
          <p:nvPr>
            <p:ph type="dt" sz="half" idx="10"/>
          </p:nvPr>
        </p:nvSpPr>
        <p:spPr/>
        <p:txBody>
          <a:bodyPr/>
          <a:lstStyle/>
          <a:p>
            <a:fld id="{5EB62FC4-F21A-4355-9D8D-4B79F80C892B}" type="datetimeFigureOut">
              <a:rPr lang="en-US" smtClean="0"/>
              <a:t>10/3/2024</a:t>
            </a:fld>
            <a:endParaRPr lang="en-US"/>
          </a:p>
        </p:txBody>
      </p:sp>
      <p:sp>
        <p:nvSpPr>
          <p:cNvPr id="5" name="Footer Placeholder 4">
            <a:extLst>
              <a:ext uri="{FF2B5EF4-FFF2-40B4-BE49-F238E27FC236}">
                <a16:creationId xmlns:a16="http://schemas.microsoft.com/office/drawing/2014/main" id="{56DC3BCA-2DA1-9DA2-99CE-D4030CF02D5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AC1F0AD-D6FE-63D7-A0E6-F411FC74FFE6}"/>
              </a:ext>
            </a:extLst>
          </p:cNvPr>
          <p:cNvSpPr>
            <a:spLocks noGrp="1"/>
          </p:cNvSpPr>
          <p:nvPr>
            <p:ph type="sldNum" sz="quarter" idx="12"/>
          </p:nvPr>
        </p:nvSpPr>
        <p:spPr/>
        <p:txBody>
          <a:bodyPr/>
          <a:lstStyle/>
          <a:p>
            <a:fld id="{2EA776A0-79BD-4601-82F1-1458B3870EC8}" type="slidenum">
              <a:rPr lang="en-US" smtClean="0"/>
              <a:t>‹#›</a:t>
            </a:fld>
            <a:endParaRPr lang="en-US"/>
          </a:p>
        </p:txBody>
      </p:sp>
    </p:spTree>
    <p:extLst>
      <p:ext uri="{BB962C8B-B14F-4D97-AF65-F5344CB8AC3E}">
        <p14:creationId xmlns:p14="http://schemas.microsoft.com/office/powerpoint/2010/main" val="801255927"/>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8" name="Title 7"/>
          <p:cNvSpPr>
            <a:spLocks noGrp="1"/>
          </p:cNvSpPr>
          <p:nvPr>
            <p:ph type="ctrTitle"/>
          </p:nvPr>
        </p:nvSpPr>
        <p:spPr>
          <a:xfrm>
            <a:off x="562707" y="1371600"/>
            <a:ext cx="10972800" cy="1828800"/>
          </a:xfrm>
        </p:spPr>
        <p:txBody>
          <a:bodyPr vert="horz" lIns="45720" tIns="0" rIns="45720" bIns="0" anchor="b">
            <a:normAutofit/>
            <a:scene3d>
              <a:camera prst="orthographicFront"/>
              <a:lightRig rig="soft" dir="t">
                <a:rot lat="0" lon="0" rev="17220000"/>
              </a:lightRig>
            </a:scene3d>
            <a:sp3d prstMaterial="softEdge">
              <a:bevelT w="38100" h="38100"/>
            </a:sp3d>
          </a:bodyPr>
          <a:lstStyle>
            <a:lvl1pPr>
              <a:defRPr sz="4800" b="1" cap="all" baseline="0">
                <a:ln w="6350">
                  <a:noFill/>
                </a:ln>
                <a:gradFill>
                  <a:gsLst>
                    <a:gs pos="0">
                      <a:schemeClr val="accent1">
                        <a:tint val="73000"/>
                        <a:satMod val="145000"/>
                      </a:schemeClr>
                    </a:gs>
                    <a:gs pos="73000">
                      <a:schemeClr val="accent1">
                        <a:tint val="73000"/>
                        <a:satMod val="145000"/>
                      </a:schemeClr>
                    </a:gs>
                    <a:gs pos="100000">
                      <a:schemeClr val="accent1">
                        <a:tint val="83000"/>
                        <a:satMod val="143000"/>
                      </a:schemeClr>
                    </a:gs>
                  </a:gsLst>
                  <a:lin ang="4800000" scaled="1"/>
                </a:gradFill>
                <a:effectLst>
                  <a:outerShdw blurRad="127000" dist="200000" dir="2700000" algn="tl" rotWithShape="0">
                    <a:srgbClr val="000000">
                      <a:alpha val="30000"/>
                    </a:srgbClr>
                  </a:outerShdw>
                </a:effectLst>
              </a:defRPr>
            </a:lvl1pPr>
          </a:lstStyle>
          <a:p>
            <a:r>
              <a:rPr kumimoji="0" lang="en-US"/>
              <a:t>Click to edit Master title style</a:t>
            </a:r>
          </a:p>
        </p:txBody>
      </p:sp>
      <p:sp>
        <p:nvSpPr>
          <p:cNvPr id="28" name="Date Placeholder 27"/>
          <p:cNvSpPr>
            <a:spLocks noGrp="1"/>
          </p:cNvSpPr>
          <p:nvPr>
            <p:ph type="dt" sz="half" idx="10"/>
          </p:nvPr>
        </p:nvSpPr>
        <p:spPr/>
        <p:txBody>
          <a:bodyPr/>
          <a:lstStyle/>
          <a:p>
            <a:fld id="{5E8A676A-DB61-4A80-A8D2-E10DCA1505DA}" type="datetimeFigureOut">
              <a:rPr lang="en-US" smtClean="0"/>
              <a:t>10/3/2024</a:t>
            </a:fld>
            <a:endParaRPr lang="en-US"/>
          </a:p>
        </p:txBody>
      </p:sp>
      <p:sp>
        <p:nvSpPr>
          <p:cNvPr id="17" name="Footer Placeholder 16"/>
          <p:cNvSpPr>
            <a:spLocks noGrp="1"/>
          </p:cNvSpPr>
          <p:nvPr>
            <p:ph type="ftr" sz="quarter" idx="11"/>
          </p:nvPr>
        </p:nvSpPr>
        <p:spPr/>
        <p:txBody>
          <a:bodyPr/>
          <a:lstStyle/>
          <a:p>
            <a:endParaRPr lang="en-US"/>
          </a:p>
        </p:txBody>
      </p:sp>
      <p:sp>
        <p:nvSpPr>
          <p:cNvPr id="29" name="Slide Number Placeholder 28"/>
          <p:cNvSpPr>
            <a:spLocks noGrp="1"/>
          </p:cNvSpPr>
          <p:nvPr>
            <p:ph type="sldNum" sz="quarter" idx="12"/>
          </p:nvPr>
        </p:nvSpPr>
        <p:spPr/>
        <p:txBody>
          <a:bodyPr/>
          <a:lstStyle/>
          <a:p>
            <a:fld id="{2D47C796-D617-45C9-B62F-3FCF800DD0FC}" type="slidenum">
              <a:rPr lang="en-US" smtClean="0"/>
              <a:t>‹#›</a:t>
            </a:fld>
            <a:endParaRPr lang="en-US"/>
          </a:p>
        </p:txBody>
      </p:sp>
      <p:sp>
        <p:nvSpPr>
          <p:cNvPr id="9" name="Subtitle 8"/>
          <p:cNvSpPr>
            <a:spLocks noGrp="1"/>
          </p:cNvSpPr>
          <p:nvPr>
            <p:ph type="subTitle" idx="1"/>
          </p:nvPr>
        </p:nvSpPr>
        <p:spPr>
          <a:xfrm>
            <a:off x="1828800" y="3331698"/>
            <a:ext cx="8534400" cy="1752600"/>
          </a:xfrm>
        </p:spPr>
        <p:txBody>
          <a:bodyPr/>
          <a:lstStyle>
            <a:lvl1pPr marL="0" indent="0" algn="ctr">
              <a:buNone/>
              <a:defRPr>
                <a:solidFill>
                  <a:schemeClr val="tx1"/>
                </a:solidFill>
              </a:defRPr>
            </a:lvl1pPr>
            <a:lvl2pPr marL="457200" indent="0" algn="ctr">
              <a:buNone/>
            </a:lvl2pPr>
            <a:lvl3pPr marL="914400" indent="0" algn="ctr">
              <a:buNone/>
            </a:lvl3pPr>
            <a:lvl4pPr marL="1371600" indent="0" algn="ctr">
              <a:buNone/>
            </a:lvl4pPr>
            <a:lvl5pPr marL="1828800" indent="0" algn="ctr">
              <a:buNone/>
            </a:lvl5pPr>
            <a:lvl6pPr marL="2286000" indent="0" algn="ctr">
              <a:buNone/>
            </a:lvl6pPr>
            <a:lvl7pPr marL="2743200" indent="0" algn="ctr">
              <a:buNone/>
            </a:lvl7pPr>
            <a:lvl8pPr marL="3200400" indent="0" algn="ctr">
              <a:buNone/>
            </a:lvl8pPr>
            <a:lvl9pPr marL="3657600" indent="0" algn="ctr">
              <a:buNone/>
            </a:lvl9pPr>
          </a:lstStyle>
          <a:p>
            <a:r>
              <a:rPr kumimoji="0" lang="en-US"/>
              <a:t>Click to edit Master subtitle style</a:t>
            </a:r>
          </a:p>
        </p:txBody>
      </p:sp>
    </p:spTree>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kumimoji="0" lang="en-US"/>
              <a:t>Click to edit Master title style</a:t>
            </a:r>
          </a:p>
        </p:txBody>
      </p:sp>
      <p:sp>
        <p:nvSpPr>
          <p:cNvPr id="3" name="Content Placeholder 2"/>
          <p:cNvSpPr>
            <a:spLocks noGrp="1"/>
          </p:cNvSpPr>
          <p:nvPr>
            <p:ph idx="1"/>
          </p:nvPr>
        </p:nvSpPr>
        <p:spPr/>
        <p:txBody>
          <a:bodyPr/>
          <a:lstStyle/>
          <a:p>
            <a:pPr lvl="0" eaLnBrk="1" latinLnBrk="0" hangingPunct="1"/>
            <a:r>
              <a:rPr lang="en-US"/>
              <a:t>Click to edit Master text styles</a:t>
            </a:r>
          </a:p>
          <a:p>
            <a:pPr lvl="1" eaLnBrk="1" latinLnBrk="0" hangingPunct="1"/>
            <a:r>
              <a:rPr lang="en-US"/>
              <a:t>Second level</a:t>
            </a:r>
          </a:p>
          <a:p>
            <a:pPr lvl="2" eaLnBrk="1" latinLnBrk="0" hangingPunct="1"/>
            <a:r>
              <a:rPr lang="en-US"/>
              <a:t>Third level</a:t>
            </a:r>
          </a:p>
          <a:p>
            <a:pPr lvl="3" eaLnBrk="1" latinLnBrk="0" hangingPunct="1"/>
            <a:r>
              <a:rPr lang="en-US"/>
              <a:t>Fourth level</a:t>
            </a:r>
          </a:p>
          <a:p>
            <a:pPr lvl="4" eaLnBrk="1" latinLnBrk="0" hangingPunct="1"/>
            <a:r>
              <a:rPr lang="en-US"/>
              <a:t>Fifth level</a:t>
            </a:r>
            <a:endParaRPr kumimoji="0" lang="en-US"/>
          </a:p>
        </p:txBody>
      </p:sp>
      <p:sp>
        <p:nvSpPr>
          <p:cNvPr id="4" name="Date Placeholder 3"/>
          <p:cNvSpPr>
            <a:spLocks noGrp="1"/>
          </p:cNvSpPr>
          <p:nvPr>
            <p:ph type="dt" sz="half" idx="10"/>
          </p:nvPr>
        </p:nvSpPr>
        <p:spPr/>
        <p:txBody>
          <a:bodyPr/>
          <a:lstStyle/>
          <a:p>
            <a:fld id="{5E8A676A-DB61-4A80-A8D2-E10DCA1505DA}" type="datetimeFigureOut">
              <a:rPr lang="en-US" smtClean="0"/>
              <a:t>10/3/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D47C796-D617-45C9-B62F-3FCF800DD0FC}" type="slidenum">
              <a:rPr lang="en-US" smtClean="0"/>
              <a:t>‹#›</a:t>
            </a:fld>
            <a:endParaRPr lang="en-US"/>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21_Title Slide">
    <p:spTree>
      <p:nvGrpSpPr>
        <p:cNvPr id="1" name=""/>
        <p:cNvGrpSpPr/>
        <p:nvPr/>
      </p:nvGrpSpPr>
      <p:grpSpPr>
        <a:xfrm>
          <a:off x="0" y="0"/>
          <a:ext cx="0" cy="0"/>
          <a:chOff x="0" y="0"/>
          <a:chExt cx="0" cy="0"/>
        </a:xfrm>
      </p:grpSpPr>
      <p:sp>
        <p:nvSpPr>
          <p:cNvPr id="5" name="Picture Placeholder 3">
            <a:extLst>
              <a:ext uri="{FF2B5EF4-FFF2-40B4-BE49-F238E27FC236}">
                <a16:creationId xmlns:a16="http://schemas.microsoft.com/office/drawing/2014/main" id="{139BDF3E-80DA-4C20-8F9F-0DBB4BAFE0B6}"/>
              </a:ext>
            </a:extLst>
          </p:cNvPr>
          <p:cNvSpPr>
            <a:spLocks noGrp="1"/>
          </p:cNvSpPr>
          <p:nvPr>
            <p:ph type="pic" sz="quarter" idx="16"/>
          </p:nvPr>
        </p:nvSpPr>
        <p:spPr>
          <a:xfrm>
            <a:off x="0" y="0"/>
            <a:ext cx="3657600" cy="6858000"/>
          </a:xfrm>
          <a:pattFill prst="ltUpDiag">
            <a:fgClr>
              <a:schemeClr val="accent1"/>
            </a:fgClr>
            <a:bgClr>
              <a:schemeClr val="bg1"/>
            </a:bgClr>
          </a:pattFill>
          <a:ln w="25400">
            <a:noFill/>
          </a:ln>
        </p:spPr>
        <p:txBody>
          <a:bodyPr>
            <a:noAutofit/>
          </a:bodyPr>
          <a:lstStyle>
            <a:lvl1pPr>
              <a:defRPr sz="1000">
                <a:latin typeface="Arial" panose="020B0604020202020204" pitchFamily="34" charset="0"/>
                <a:cs typeface="Arial" panose="020B0604020202020204" pitchFamily="34" charset="0"/>
              </a:defRPr>
            </a:lvl1pPr>
          </a:lstStyle>
          <a:p>
            <a:endParaRPr lang="en-ID"/>
          </a:p>
        </p:txBody>
      </p:sp>
      <p:sp>
        <p:nvSpPr>
          <p:cNvPr id="3" name="Picture Placeholder 3">
            <a:extLst>
              <a:ext uri="{FF2B5EF4-FFF2-40B4-BE49-F238E27FC236}">
                <a16:creationId xmlns:a16="http://schemas.microsoft.com/office/drawing/2014/main" id="{E732A059-7427-474B-B0CA-E8AB714B1B99}"/>
              </a:ext>
            </a:extLst>
          </p:cNvPr>
          <p:cNvSpPr>
            <a:spLocks noGrp="1"/>
          </p:cNvSpPr>
          <p:nvPr>
            <p:ph type="pic" sz="quarter" idx="12"/>
          </p:nvPr>
        </p:nvSpPr>
        <p:spPr>
          <a:xfrm>
            <a:off x="1904999" y="1890712"/>
            <a:ext cx="3076575" cy="3076575"/>
          </a:xfrm>
          <a:pattFill prst="ltUpDiag">
            <a:fgClr>
              <a:schemeClr val="accent1"/>
            </a:fgClr>
            <a:bgClr>
              <a:schemeClr val="bg1"/>
            </a:bgClr>
          </a:pattFill>
          <a:ln w="25400">
            <a:noFill/>
          </a:ln>
          <a:effectLst>
            <a:outerShdw blurRad="406400" dist="495300" dir="5400000" sx="88000" sy="88000" algn="t" rotWithShape="0">
              <a:prstClr val="black">
                <a:alpha val="35000"/>
              </a:prstClr>
            </a:outerShdw>
          </a:effectLst>
        </p:spPr>
        <p:txBody>
          <a:bodyPr>
            <a:noAutofit/>
          </a:bodyPr>
          <a:lstStyle>
            <a:lvl1pPr>
              <a:defRPr sz="1000">
                <a:latin typeface="Arial" panose="020B0604020202020204" pitchFamily="34" charset="0"/>
                <a:cs typeface="Arial" panose="020B0604020202020204" pitchFamily="34" charset="0"/>
              </a:defRPr>
            </a:lvl1pPr>
          </a:lstStyle>
          <a:p>
            <a:endParaRPr lang="en-ID"/>
          </a:p>
        </p:txBody>
      </p:sp>
    </p:spTree>
    <p:extLst>
      <p:ext uri="{BB962C8B-B14F-4D97-AF65-F5344CB8AC3E}">
        <p14:creationId xmlns:p14="http://schemas.microsoft.com/office/powerpoint/2010/main" val="37857834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secHead" preserve="1">
  <p:cSld name="Section Header">
    <p:bg>
      <p:bgRef idx="1003">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133600" y="609600"/>
            <a:ext cx="9448800" cy="1828800"/>
          </a:xfrm>
        </p:spPr>
        <p:txBody>
          <a:bodyPr vert="horz" bIns="0" anchor="b">
            <a:noAutofit/>
            <a:scene3d>
              <a:camera prst="orthographicFront"/>
              <a:lightRig rig="soft" dir="t">
                <a:rot lat="0" lon="0" rev="17220000"/>
              </a:lightRig>
            </a:scene3d>
            <a:sp3d prstMaterial="softEdge">
              <a:bevelT w="38100" h="38100"/>
              <a:contourClr>
                <a:schemeClr val="tx2">
                  <a:shade val="50000"/>
                </a:schemeClr>
              </a:contourClr>
            </a:sp3d>
          </a:bodyPr>
          <a:lstStyle>
            <a:lvl1pPr algn="l" rtl="0">
              <a:spcBef>
                <a:spcPct val="0"/>
              </a:spcBef>
              <a:buNone/>
              <a:defRPr sz="4800" b="1" cap="none" baseline="0">
                <a:ln w="6350">
                  <a:noFill/>
                </a:ln>
                <a:solidFill>
                  <a:schemeClr val="accent1">
                    <a:tint val="90000"/>
                    <a:satMod val="120000"/>
                  </a:schemeClr>
                </a:solidFill>
                <a:effectLst>
                  <a:outerShdw blurRad="114300" dist="101600" dir="2700000" algn="tl" rotWithShape="0">
                    <a:srgbClr val="000000">
                      <a:alpha val="40000"/>
                    </a:srgbClr>
                  </a:outerShdw>
                </a:effectLst>
                <a:latin typeface="+mj-lt"/>
                <a:ea typeface="+mj-ea"/>
                <a:cs typeface="+mj-cs"/>
              </a:defRPr>
            </a:lvl1pPr>
          </a:lstStyle>
          <a:p>
            <a:r>
              <a:rPr kumimoji="0" lang="en-US"/>
              <a:t>Click to edit Master title style</a:t>
            </a:r>
          </a:p>
        </p:txBody>
      </p:sp>
      <p:sp>
        <p:nvSpPr>
          <p:cNvPr id="3" name="Text Placeholder 2"/>
          <p:cNvSpPr>
            <a:spLocks noGrp="1"/>
          </p:cNvSpPr>
          <p:nvPr>
            <p:ph type="body" idx="1"/>
          </p:nvPr>
        </p:nvSpPr>
        <p:spPr>
          <a:xfrm>
            <a:off x="2133600" y="2507786"/>
            <a:ext cx="9448800" cy="1509712"/>
          </a:xfrm>
        </p:spPr>
        <p:txBody>
          <a:bodyPr anchor="t"/>
          <a:lstStyle>
            <a:lvl1pPr marL="73152" indent="0" algn="l">
              <a:buNone/>
              <a:defRPr sz="2000">
                <a:solidFill>
                  <a:schemeClr val="tx1"/>
                </a:solidFill>
              </a:defRPr>
            </a:lvl1pPr>
            <a:lvl2pPr>
              <a:buNone/>
              <a:defRPr sz="1800">
                <a:solidFill>
                  <a:schemeClr val="tx1">
                    <a:tint val="75000"/>
                  </a:schemeClr>
                </a:solidFill>
              </a:defRPr>
            </a:lvl2pPr>
            <a:lvl3pPr>
              <a:buNone/>
              <a:defRPr sz="1600">
                <a:solidFill>
                  <a:schemeClr val="tx1">
                    <a:tint val="75000"/>
                  </a:schemeClr>
                </a:solidFill>
              </a:defRPr>
            </a:lvl3pPr>
            <a:lvl4pPr>
              <a:buNone/>
              <a:defRPr sz="1400">
                <a:solidFill>
                  <a:schemeClr val="tx1">
                    <a:tint val="75000"/>
                  </a:schemeClr>
                </a:solidFill>
              </a:defRPr>
            </a:lvl4pPr>
            <a:lvl5pPr>
              <a:buNone/>
              <a:defRPr sz="1400">
                <a:solidFill>
                  <a:schemeClr val="tx1">
                    <a:tint val="75000"/>
                  </a:schemeClr>
                </a:solidFill>
              </a:defRPr>
            </a:lvl5pPr>
          </a:lstStyle>
          <a:p>
            <a:pPr lvl="0" eaLnBrk="1" latinLnBrk="0" hangingPunct="1"/>
            <a:r>
              <a:rPr kumimoji="0" lang="en-US"/>
              <a:t>Click to edit Master text styles</a:t>
            </a:r>
          </a:p>
        </p:txBody>
      </p:sp>
      <p:sp>
        <p:nvSpPr>
          <p:cNvPr id="4" name="Date Placeholder 3"/>
          <p:cNvSpPr>
            <a:spLocks noGrp="1"/>
          </p:cNvSpPr>
          <p:nvPr>
            <p:ph type="dt" sz="half" idx="10"/>
          </p:nvPr>
        </p:nvSpPr>
        <p:spPr/>
        <p:txBody>
          <a:bodyPr/>
          <a:lstStyle/>
          <a:p>
            <a:fld id="{5E8A676A-DB61-4A80-A8D2-E10DCA1505DA}" type="datetimeFigureOut">
              <a:rPr lang="en-US" smtClean="0"/>
              <a:t>10/3/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a:xfrm>
            <a:off x="10566400" y="6416676"/>
            <a:ext cx="1016000" cy="365125"/>
          </a:xfrm>
        </p:spPr>
        <p:txBody>
          <a:bodyPr/>
          <a:lstStyle/>
          <a:p>
            <a:fld id="{2D47C796-D617-45C9-B62F-3FCF800DD0FC}" type="slidenum">
              <a:rPr lang="en-US" smtClean="0"/>
              <a:t>‹#›</a:t>
            </a:fld>
            <a:endParaRPr lang="en-US"/>
          </a:p>
        </p:txBody>
      </p:sp>
    </p:spTree>
  </p:cSld>
  <p:clrMapOvr>
    <a:overrideClrMapping bg1="dk1" tx1="lt1" bg2="dk2" tx2="lt2" accent1="accent1" accent2="accent2" accent3="accent3" accent4="accent4" accent5="accent5" accent6="accent6" hlink="hlink" folHlink="folHlink"/>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kumimoji="0" lang="en-US"/>
              <a:t>Click to edit Master title style</a:t>
            </a:r>
          </a:p>
        </p:txBody>
      </p:sp>
      <p:sp>
        <p:nvSpPr>
          <p:cNvPr id="3" name="Content Placeholder 2"/>
          <p:cNvSpPr>
            <a:spLocks noGrp="1"/>
          </p:cNvSpPr>
          <p:nvPr>
            <p:ph sz="half" idx="1"/>
          </p:nvPr>
        </p:nvSpPr>
        <p:spPr>
          <a:xfrm>
            <a:off x="609600" y="1600201"/>
            <a:ext cx="5384800" cy="4525963"/>
          </a:xfrm>
        </p:spPr>
        <p:txBody>
          <a:bodyPr/>
          <a:lstStyle>
            <a:lvl1pPr>
              <a:defRPr sz="2600"/>
            </a:lvl1pPr>
            <a:lvl2pPr>
              <a:defRPr sz="2400"/>
            </a:lvl2pPr>
            <a:lvl3pPr>
              <a:defRPr sz="2000"/>
            </a:lvl3pPr>
            <a:lvl4pPr>
              <a:defRPr sz="1800"/>
            </a:lvl4pPr>
            <a:lvl5pPr>
              <a:defRPr sz="1800"/>
            </a:lvl5pPr>
          </a:lstStyle>
          <a:p>
            <a:pPr lvl="0" eaLnBrk="1" latinLnBrk="0" hangingPunct="1"/>
            <a:r>
              <a:rPr lang="en-US"/>
              <a:t>Click to edit Master text styles</a:t>
            </a:r>
          </a:p>
          <a:p>
            <a:pPr lvl="1" eaLnBrk="1" latinLnBrk="0" hangingPunct="1"/>
            <a:r>
              <a:rPr lang="en-US"/>
              <a:t>Second level</a:t>
            </a:r>
          </a:p>
          <a:p>
            <a:pPr lvl="2" eaLnBrk="1" latinLnBrk="0" hangingPunct="1"/>
            <a:r>
              <a:rPr lang="en-US"/>
              <a:t>Third level</a:t>
            </a:r>
          </a:p>
          <a:p>
            <a:pPr lvl="3" eaLnBrk="1" latinLnBrk="0" hangingPunct="1"/>
            <a:r>
              <a:rPr lang="en-US"/>
              <a:t>Fourth level</a:t>
            </a:r>
          </a:p>
          <a:p>
            <a:pPr lvl="4" eaLnBrk="1" latinLnBrk="0" hangingPunct="1"/>
            <a:r>
              <a:rPr lang="en-US"/>
              <a:t>Fifth level</a:t>
            </a:r>
            <a:endParaRPr kumimoji="0" lang="en-US"/>
          </a:p>
        </p:txBody>
      </p:sp>
      <p:sp>
        <p:nvSpPr>
          <p:cNvPr id="4" name="Content Placeholder 3"/>
          <p:cNvSpPr>
            <a:spLocks noGrp="1"/>
          </p:cNvSpPr>
          <p:nvPr>
            <p:ph sz="half" idx="2"/>
          </p:nvPr>
        </p:nvSpPr>
        <p:spPr>
          <a:xfrm>
            <a:off x="6197600" y="1600201"/>
            <a:ext cx="5384800" cy="4525963"/>
          </a:xfrm>
        </p:spPr>
        <p:txBody>
          <a:bodyPr/>
          <a:lstStyle>
            <a:lvl1pPr>
              <a:defRPr sz="2600"/>
            </a:lvl1pPr>
            <a:lvl2pPr>
              <a:defRPr sz="2400"/>
            </a:lvl2pPr>
            <a:lvl3pPr>
              <a:defRPr sz="2000"/>
            </a:lvl3pPr>
            <a:lvl4pPr>
              <a:defRPr sz="1800"/>
            </a:lvl4pPr>
            <a:lvl5pPr>
              <a:defRPr sz="1800"/>
            </a:lvl5pPr>
          </a:lstStyle>
          <a:p>
            <a:pPr lvl="0" eaLnBrk="1" latinLnBrk="0" hangingPunct="1"/>
            <a:r>
              <a:rPr lang="en-US"/>
              <a:t>Click to edit Master text styles</a:t>
            </a:r>
          </a:p>
          <a:p>
            <a:pPr lvl="1" eaLnBrk="1" latinLnBrk="0" hangingPunct="1"/>
            <a:r>
              <a:rPr lang="en-US"/>
              <a:t>Second level</a:t>
            </a:r>
          </a:p>
          <a:p>
            <a:pPr lvl="2" eaLnBrk="1" latinLnBrk="0" hangingPunct="1"/>
            <a:r>
              <a:rPr lang="en-US"/>
              <a:t>Third level</a:t>
            </a:r>
          </a:p>
          <a:p>
            <a:pPr lvl="3" eaLnBrk="1" latinLnBrk="0" hangingPunct="1"/>
            <a:r>
              <a:rPr lang="en-US"/>
              <a:t>Fourth level</a:t>
            </a:r>
          </a:p>
          <a:p>
            <a:pPr lvl="4" eaLnBrk="1" latinLnBrk="0" hangingPunct="1"/>
            <a:r>
              <a:rPr lang="en-US"/>
              <a:t>Fifth level</a:t>
            </a:r>
            <a:endParaRPr kumimoji="0" lang="en-US"/>
          </a:p>
        </p:txBody>
      </p:sp>
      <p:sp>
        <p:nvSpPr>
          <p:cNvPr id="5" name="Date Placeholder 4"/>
          <p:cNvSpPr>
            <a:spLocks noGrp="1"/>
          </p:cNvSpPr>
          <p:nvPr>
            <p:ph type="dt" sz="half" idx="10"/>
          </p:nvPr>
        </p:nvSpPr>
        <p:spPr/>
        <p:txBody>
          <a:bodyPr/>
          <a:lstStyle/>
          <a:p>
            <a:fld id="{5E8A676A-DB61-4A80-A8D2-E10DCA1505DA}" type="datetimeFigureOut">
              <a:rPr lang="en-US" smtClean="0"/>
              <a:t>10/3/202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2D47C796-D617-45C9-B62F-3FCF800DD0FC}" type="slidenum">
              <a:rPr lang="en-US" smtClean="0"/>
              <a:t>‹#›</a:t>
            </a:fld>
            <a:endParaRPr lang="en-US"/>
          </a:p>
        </p:txBody>
      </p:sp>
    </p:spTree>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9600" y="273050"/>
            <a:ext cx="10972800" cy="1143000"/>
          </a:xfrm>
        </p:spPr>
        <p:txBody>
          <a:bodyPr anchor="ctr"/>
          <a:lstStyle>
            <a:lvl1pPr>
              <a:defRPr/>
            </a:lvl1pPr>
          </a:lstStyle>
          <a:p>
            <a:r>
              <a:rPr kumimoji="0" lang="en-US"/>
              <a:t>Click to edit Master title style</a:t>
            </a:r>
          </a:p>
        </p:txBody>
      </p:sp>
      <p:sp>
        <p:nvSpPr>
          <p:cNvPr id="3" name="Text Placeholder 2"/>
          <p:cNvSpPr>
            <a:spLocks noGrp="1"/>
          </p:cNvSpPr>
          <p:nvPr>
            <p:ph type="body" idx="1"/>
          </p:nvPr>
        </p:nvSpPr>
        <p:spPr>
          <a:xfrm>
            <a:off x="609600" y="1535113"/>
            <a:ext cx="5386917" cy="750887"/>
          </a:xfrm>
        </p:spPr>
        <p:txBody>
          <a:bodyPr anchor="ctr"/>
          <a:lstStyle>
            <a:lvl1pPr marL="0" indent="0">
              <a:buNone/>
              <a:defRPr sz="2400" b="0" cap="all" baseline="0">
                <a:solidFill>
                  <a:schemeClr val="tx1"/>
                </a:solidFill>
              </a:defRPr>
            </a:lvl1pPr>
            <a:lvl2pPr>
              <a:buNone/>
              <a:defRPr sz="2000" b="1"/>
            </a:lvl2pPr>
            <a:lvl3pPr>
              <a:buNone/>
              <a:defRPr sz="1800" b="1"/>
            </a:lvl3pPr>
            <a:lvl4pPr>
              <a:buNone/>
              <a:defRPr sz="1600" b="1"/>
            </a:lvl4pPr>
            <a:lvl5pPr>
              <a:buNone/>
              <a:defRPr sz="1600" b="1"/>
            </a:lvl5pPr>
          </a:lstStyle>
          <a:p>
            <a:pPr lvl="0" eaLnBrk="1" latinLnBrk="0" hangingPunct="1"/>
            <a:r>
              <a:rPr kumimoji="0" lang="en-US"/>
              <a:t>Click to edit Master text styles</a:t>
            </a:r>
          </a:p>
        </p:txBody>
      </p:sp>
      <p:sp>
        <p:nvSpPr>
          <p:cNvPr id="4" name="Text Placeholder 3"/>
          <p:cNvSpPr>
            <a:spLocks noGrp="1"/>
          </p:cNvSpPr>
          <p:nvPr>
            <p:ph type="body" sz="half" idx="3"/>
          </p:nvPr>
        </p:nvSpPr>
        <p:spPr>
          <a:xfrm>
            <a:off x="6193368" y="1535113"/>
            <a:ext cx="5389033" cy="750887"/>
          </a:xfrm>
        </p:spPr>
        <p:txBody>
          <a:bodyPr anchor="ctr"/>
          <a:lstStyle>
            <a:lvl1pPr marL="0" indent="0">
              <a:buNone/>
              <a:defRPr sz="2400" b="0" cap="all" baseline="0">
                <a:solidFill>
                  <a:schemeClr val="tx1"/>
                </a:solidFill>
              </a:defRPr>
            </a:lvl1pPr>
            <a:lvl2pPr>
              <a:buNone/>
              <a:defRPr sz="2000" b="1"/>
            </a:lvl2pPr>
            <a:lvl3pPr>
              <a:buNone/>
              <a:defRPr sz="1800" b="1"/>
            </a:lvl3pPr>
            <a:lvl4pPr>
              <a:buNone/>
              <a:defRPr sz="1600" b="1"/>
            </a:lvl4pPr>
            <a:lvl5pPr>
              <a:buNone/>
              <a:defRPr sz="1600" b="1"/>
            </a:lvl5pPr>
          </a:lstStyle>
          <a:p>
            <a:pPr lvl="0" eaLnBrk="1" latinLnBrk="0" hangingPunct="1"/>
            <a:r>
              <a:rPr kumimoji="0" lang="en-US"/>
              <a:t>Click to edit Master text styles</a:t>
            </a:r>
          </a:p>
        </p:txBody>
      </p:sp>
      <p:sp>
        <p:nvSpPr>
          <p:cNvPr id="5" name="Content Placeholder 4"/>
          <p:cNvSpPr>
            <a:spLocks noGrp="1"/>
          </p:cNvSpPr>
          <p:nvPr>
            <p:ph sz="quarter" idx="2"/>
          </p:nvPr>
        </p:nvSpPr>
        <p:spPr>
          <a:xfrm>
            <a:off x="609600" y="2362201"/>
            <a:ext cx="5386917" cy="3763963"/>
          </a:xfrm>
        </p:spPr>
        <p:txBody>
          <a:bodyPr/>
          <a:lstStyle>
            <a:lvl1pPr>
              <a:defRPr sz="2400"/>
            </a:lvl1pPr>
            <a:lvl2pPr>
              <a:defRPr sz="2000"/>
            </a:lvl2pPr>
            <a:lvl3pPr>
              <a:defRPr sz="1800"/>
            </a:lvl3pPr>
            <a:lvl4pPr>
              <a:defRPr sz="1600"/>
            </a:lvl4pPr>
            <a:lvl5pPr>
              <a:defRPr sz="1600"/>
            </a:lvl5pPr>
          </a:lstStyle>
          <a:p>
            <a:pPr lvl="0" eaLnBrk="1" latinLnBrk="0" hangingPunct="1"/>
            <a:r>
              <a:rPr lang="en-US"/>
              <a:t>Click to edit Master text styles</a:t>
            </a:r>
          </a:p>
          <a:p>
            <a:pPr lvl="1" eaLnBrk="1" latinLnBrk="0" hangingPunct="1"/>
            <a:r>
              <a:rPr lang="en-US"/>
              <a:t>Second level</a:t>
            </a:r>
          </a:p>
          <a:p>
            <a:pPr lvl="2" eaLnBrk="1" latinLnBrk="0" hangingPunct="1"/>
            <a:r>
              <a:rPr lang="en-US"/>
              <a:t>Third level</a:t>
            </a:r>
          </a:p>
          <a:p>
            <a:pPr lvl="3" eaLnBrk="1" latinLnBrk="0" hangingPunct="1"/>
            <a:r>
              <a:rPr lang="en-US"/>
              <a:t>Fourth level</a:t>
            </a:r>
          </a:p>
          <a:p>
            <a:pPr lvl="4" eaLnBrk="1" latinLnBrk="0" hangingPunct="1"/>
            <a:r>
              <a:rPr lang="en-US"/>
              <a:t>Fifth level</a:t>
            </a:r>
            <a:endParaRPr kumimoji="0" lang="en-US"/>
          </a:p>
        </p:txBody>
      </p:sp>
      <p:sp>
        <p:nvSpPr>
          <p:cNvPr id="6" name="Content Placeholder 5"/>
          <p:cNvSpPr>
            <a:spLocks noGrp="1"/>
          </p:cNvSpPr>
          <p:nvPr>
            <p:ph sz="quarter" idx="4"/>
          </p:nvPr>
        </p:nvSpPr>
        <p:spPr>
          <a:xfrm>
            <a:off x="6193368" y="2362201"/>
            <a:ext cx="5389033" cy="3763963"/>
          </a:xfrm>
        </p:spPr>
        <p:txBody>
          <a:bodyPr/>
          <a:lstStyle>
            <a:lvl1pPr>
              <a:defRPr sz="2400"/>
            </a:lvl1pPr>
            <a:lvl2pPr>
              <a:defRPr sz="2000"/>
            </a:lvl2pPr>
            <a:lvl3pPr>
              <a:defRPr sz="1800"/>
            </a:lvl3pPr>
            <a:lvl4pPr>
              <a:defRPr sz="1600"/>
            </a:lvl4pPr>
            <a:lvl5pPr>
              <a:defRPr sz="1600"/>
            </a:lvl5pPr>
          </a:lstStyle>
          <a:p>
            <a:pPr lvl="0" eaLnBrk="1" latinLnBrk="0" hangingPunct="1"/>
            <a:r>
              <a:rPr lang="en-US"/>
              <a:t>Click to edit Master text styles</a:t>
            </a:r>
          </a:p>
          <a:p>
            <a:pPr lvl="1" eaLnBrk="1" latinLnBrk="0" hangingPunct="1"/>
            <a:r>
              <a:rPr lang="en-US"/>
              <a:t>Second level</a:t>
            </a:r>
          </a:p>
          <a:p>
            <a:pPr lvl="2" eaLnBrk="1" latinLnBrk="0" hangingPunct="1"/>
            <a:r>
              <a:rPr lang="en-US"/>
              <a:t>Third level</a:t>
            </a:r>
          </a:p>
          <a:p>
            <a:pPr lvl="3" eaLnBrk="1" latinLnBrk="0" hangingPunct="1"/>
            <a:r>
              <a:rPr lang="en-US"/>
              <a:t>Fourth level</a:t>
            </a:r>
          </a:p>
          <a:p>
            <a:pPr lvl="4" eaLnBrk="1" latinLnBrk="0" hangingPunct="1"/>
            <a:r>
              <a:rPr lang="en-US"/>
              <a:t>Fifth level</a:t>
            </a:r>
            <a:endParaRPr kumimoji="0" lang="en-US"/>
          </a:p>
        </p:txBody>
      </p:sp>
      <p:sp>
        <p:nvSpPr>
          <p:cNvPr id="7" name="Date Placeholder 6"/>
          <p:cNvSpPr>
            <a:spLocks noGrp="1"/>
          </p:cNvSpPr>
          <p:nvPr>
            <p:ph type="dt" sz="half" idx="10"/>
          </p:nvPr>
        </p:nvSpPr>
        <p:spPr/>
        <p:txBody>
          <a:bodyPr/>
          <a:lstStyle/>
          <a:p>
            <a:fld id="{5E8A676A-DB61-4A80-A8D2-E10DCA1505DA}" type="datetimeFigureOut">
              <a:rPr lang="en-US" smtClean="0"/>
              <a:t>10/3/2024</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2D47C796-D617-45C9-B62F-3FCF800DD0FC}" type="slidenum">
              <a:rPr lang="en-US" smtClean="0"/>
              <a:t>‹#›</a:t>
            </a:fld>
            <a:endParaRPr lang="en-US"/>
          </a:p>
        </p:txBody>
      </p:sp>
    </p:spTree>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kumimoji="0" lang="en-US"/>
              <a:t>Click to edit Master title style</a:t>
            </a:r>
          </a:p>
        </p:txBody>
      </p:sp>
      <p:sp>
        <p:nvSpPr>
          <p:cNvPr id="3" name="Date Placeholder 2"/>
          <p:cNvSpPr>
            <a:spLocks noGrp="1"/>
          </p:cNvSpPr>
          <p:nvPr>
            <p:ph type="dt" sz="half" idx="10"/>
          </p:nvPr>
        </p:nvSpPr>
        <p:spPr/>
        <p:txBody>
          <a:bodyPr/>
          <a:lstStyle/>
          <a:p>
            <a:fld id="{5E8A676A-DB61-4A80-A8D2-E10DCA1505DA}" type="datetimeFigureOut">
              <a:rPr lang="en-US" smtClean="0"/>
              <a:t>10/3/2024</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2D47C796-D617-45C9-B62F-3FCF800DD0FC}" type="slidenum">
              <a:rPr lang="en-US" smtClean="0"/>
              <a:t>‹#›</a:t>
            </a:fld>
            <a:endParaRPr lang="en-US"/>
          </a:p>
        </p:txBody>
      </p:sp>
    </p:spTree>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5E8A676A-DB61-4A80-A8D2-E10DCA1505DA}" type="datetimeFigureOut">
              <a:rPr lang="en-US" smtClean="0"/>
              <a:t>10/3/2024</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2D47C796-D617-45C9-B62F-3FCF800DD0FC}" type="slidenum">
              <a:rPr lang="en-US" smtClean="0"/>
              <a:t>‹#›</a:t>
            </a:fld>
            <a:endParaRPr lang="en-US"/>
          </a:p>
        </p:txBody>
      </p:sp>
    </p:spTree>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1" y="273050"/>
            <a:ext cx="4011084" cy="1162050"/>
          </a:xfrm>
        </p:spPr>
        <p:txBody>
          <a:bodyPr vert="horz" anchor="b">
            <a:normAutofit/>
            <a:sp3d prstMaterial="softEdge"/>
          </a:bodyPr>
          <a:lstStyle>
            <a:lvl1pPr algn="l">
              <a:buNone/>
              <a:defRPr sz="2200" b="0">
                <a:ln w="6350">
                  <a:noFill/>
                </a:ln>
                <a:solidFill>
                  <a:schemeClr val="accent1">
                    <a:tint val="73000"/>
                    <a:satMod val="180000"/>
                  </a:schemeClr>
                </a:solidFill>
              </a:defRPr>
            </a:lvl1pPr>
          </a:lstStyle>
          <a:p>
            <a:r>
              <a:rPr kumimoji="0" lang="en-US"/>
              <a:t>Click to edit Master title style</a:t>
            </a:r>
          </a:p>
        </p:txBody>
      </p:sp>
      <p:sp>
        <p:nvSpPr>
          <p:cNvPr id="3" name="Text Placeholder 2"/>
          <p:cNvSpPr>
            <a:spLocks noGrp="1"/>
          </p:cNvSpPr>
          <p:nvPr>
            <p:ph type="body" idx="2"/>
          </p:nvPr>
        </p:nvSpPr>
        <p:spPr>
          <a:xfrm>
            <a:off x="609601" y="1524001"/>
            <a:ext cx="4011084" cy="4602163"/>
          </a:xfrm>
        </p:spPr>
        <p:txBody>
          <a:bodyPr/>
          <a:lstStyle>
            <a:lvl1pPr marL="0" indent="0">
              <a:buNone/>
              <a:defRPr sz="1400"/>
            </a:lvl1pPr>
            <a:lvl2pPr>
              <a:buNone/>
              <a:defRPr sz="1200"/>
            </a:lvl2pPr>
            <a:lvl3pPr>
              <a:buNone/>
              <a:defRPr sz="1000"/>
            </a:lvl3pPr>
            <a:lvl4pPr>
              <a:buNone/>
              <a:defRPr sz="900"/>
            </a:lvl4pPr>
            <a:lvl5pPr>
              <a:buNone/>
              <a:defRPr sz="900"/>
            </a:lvl5pPr>
          </a:lstStyle>
          <a:p>
            <a:pPr lvl="0" eaLnBrk="1" latinLnBrk="0" hangingPunct="1"/>
            <a:r>
              <a:rPr kumimoji="0" lang="en-US"/>
              <a:t>Click to edit Master text styles</a:t>
            </a:r>
          </a:p>
        </p:txBody>
      </p:sp>
      <p:sp>
        <p:nvSpPr>
          <p:cNvPr id="4" name="Content Placeholder 3"/>
          <p:cNvSpPr>
            <a:spLocks noGrp="1"/>
          </p:cNvSpPr>
          <p:nvPr>
            <p:ph sz="half" idx="1"/>
          </p:nvPr>
        </p:nvSpPr>
        <p:spPr>
          <a:xfrm>
            <a:off x="4766733" y="273051"/>
            <a:ext cx="6815667" cy="5853113"/>
          </a:xfrm>
        </p:spPr>
        <p:txBody>
          <a:bodyPr/>
          <a:lstStyle>
            <a:lvl1pPr>
              <a:defRPr sz="2600"/>
            </a:lvl1pPr>
            <a:lvl2pPr>
              <a:defRPr sz="2400"/>
            </a:lvl2pPr>
            <a:lvl3pPr>
              <a:defRPr sz="2200"/>
            </a:lvl3pPr>
            <a:lvl4pPr>
              <a:defRPr sz="2000"/>
            </a:lvl4pPr>
            <a:lvl5pPr>
              <a:defRPr sz="1800"/>
            </a:lvl5pPr>
          </a:lstStyle>
          <a:p>
            <a:pPr lvl="0" eaLnBrk="1" latinLnBrk="0" hangingPunct="1"/>
            <a:r>
              <a:rPr lang="en-US"/>
              <a:t>Click to edit Master text styles</a:t>
            </a:r>
          </a:p>
          <a:p>
            <a:pPr lvl="1" eaLnBrk="1" latinLnBrk="0" hangingPunct="1"/>
            <a:r>
              <a:rPr lang="en-US"/>
              <a:t>Second level</a:t>
            </a:r>
          </a:p>
          <a:p>
            <a:pPr lvl="2" eaLnBrk="1" latinLnBrk="0" hangingPunct="1"/>
            <a:r>
              <a:rPr lang="en-US"/>
              <a:t>Third level</a:t>
            </a:r>
          </a:p>
          <a:p>
            <a:pPr lvl="3" eaLnBrk="1" latinLnBrk="0" hangingPunct="1"/>
            <a:r>
              <a:rPr lang="en-US"/>
              <a:t>Fourth level</a:t>
            </a:r>
          </a:p>
          <a:p>
            <a:pPr lvl="4" eaLnBrk="1" latinLnBrk="0" hangingPunct="1"/>
            <a:r>
              <a:rPr lang="en-US"/>
              <a:t>Fifth level</a:t>
            </a:r>
            <a:endParaRPr kumimoji="0" lang="en-US"/>
          </a:p>
        </p:txBody>
      </p:sp>
      <p:sp>
        <p:nvSpPr>
          <p:cNvPr id="5" name="Date Placeholder 4"/>
          <p:cNvSpPr>
            <a:spLocks noGrp="1"/>
          </p:cNvSpPr>
          <p:nvPr>
            <p:ph type="dt" sz="half" idx="10"/>
          </p:nvPr>
        </p:nvSpPr>
        <p:spPr/>
        <p:txBody>
          <a:bodyPr/>
          <a:lstStyle/>
          <a:p>
            <a:fld id="{5E8A676A-DB61-4A80-A8D2-E10DCA1505DA}" type="datetimeFigureOut">
              <a:rPr lang="en-US" smtClean="0"/>
              <a:t>10/3/202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2D47C796-D617-45C9-B62F-3FCF800DD0FC}" type="slidenum">
              <a:rPr lang="en-US" smtClean="0"/>
              <a:t>‹#›</a:t>
            </a:fld>
            <a:endParaRPr lang="en-US"/>
          </a:p>
        </p:txBody>
      </p:sp>
    </p:spTree>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438400" y="609600"/>
            <a:ext cx="7315200" cy="522288"/>
          </a:xfrm>
        </p:spPr>
        <p:txBody>
          <a:bodyPr lIns="45720" rIns="45720" bIns="0" anchor="b">
            <a:sp3d prstMaterial="softEdge"/>
          </a:bodyPr>
          <a:lstStyle>
            <a:lvl1pPr algn="ctr">
              <a:buNone/>
              <a:defRPr sz="2000" b="1"/>
            </a:lvl1pPr>
          </a:lstStyle>
          <a:p>
            <a:r>
              <a:rPr kumimoji="0" lang="en-US"/>
              <a:t>Click to edit Master title style</a:t>
            </a:r>
          </a:p>
        </p:txBody>
      </p:sp>
      <p:sp>
        <p:nvSpPr>
          <p:cNvPr id="3" name="Picture Placeholder 2"/>
          <p:cNvSpPr>
            <a:spLocks noGrp="1"/>
          </p:cNvSpPr>
          <p:nvPr>
            <p:ph type="pic" idx="1"/>
          </p:nvPr>
        </p:nvSpPr>
        <p:spPr>
          <a:xfrm>
            <a:off x="2438400" y="1831975"/>
            <a:ext cx="7315200" cy="3962400"/>
          </a:xfrm>
          <a:solidFill>
            <a:schemeClr val="bg2"/>
          </a:solidFill>
          <a:ln w="44450" cap="sq" cmpd="sng" algn="ctr">
            <a:solidFill>
              <a:srgbClr val="FFFFFF"/>
            </a:solidFill>
            <a:prstDash val="solid"/>
            <a:miter lim="800000"/>
          </a:ln>
          <a:effectLst>
            <a:outerShdw blurRad="190500" dist="228600" dir="2700000" sy="90000">
              <a:srgbClr val="000000">
                <a:alpha val="25000"/>
              </a:srgbClr>
            </a:outerShdw>
          </a:effectLst>
          <a:scene3d>
            <a:camera prst="orthographicFront">
              <a:rot lat="0" lon="0" rev="0"/>
            </a:camera>
            <a:lightRig rig="balanced" dir="tr">
              <a:rot lat="0" lon="0" rev="2700000"/>
            </a:lightRig>
          </a:scene3d>
          <a:sp3d prstMaterial="matte">
            <a:contourClr>
              <a:schemeClr val="tx2">
                <a:shade val="50000"/>
              </a:schemeClr>
            </a:contourClr>
          </a:sp3d>
        </p:spPr>
        <p:style>
          <a:lnRef idx="3">
            <a:schemeClr val="lt1"/>
          </a:lnRef>
          <a:fillRef idx="1">
            <a:schemeClr val="accent1"/>
          </a:fillRef>
          <a:effectRef idx="1">
            <a:schemeClr val="accent1"/>
          </a:effectRef>
          <a:fontRef idx="minor">
            <a:schemeClr val="lt1"/>
          </a:fontRef>
        </p:style>
        <p:txBody>
          <a:bodyPr anchor="t"/>
          <a:lstStyle>
            <a:lvl1pPr indent="0">
              <a:buNone/>
              <a:defRPr sz="3200"/>
            </a:lvl1pPr>
          </a:lstStyle>
          <a:p>
            <a:pPr marL="0" algn="l" rtl="0" eaLnBrk="1" latinLnBrk="0" hangingPunct="1"/>
            <a:r>
              <a:rPr kumimoji="0" lang="en-US">
                <a:solidFill>
                  <a:schemeClr val="lt1"/>
                </a:solidFill>
                <a:latin typeface="+mn-lt"/>
                <a:ea typeface="+mn-ea"/>
                <a:cs typeface="+mn-cs"/>
              </a:rPr>
              <a:t>Click icon to add picture</a:t>
            </a:r>
            <a:endParaRPr kumimoji="0" lang="en-US" dirty="0">
              <a:solidFill>
                <a:schemeClr val="lt1"/>
              </a:solidFill>
              <a:latin typeface="+mn-lt"/>
              <a:ea typeface="+mn-ea"/>
              <a:cs typeface="+mn-cs"/>
            </a:endParaRPr>
          </a:p>
        </p:txBody>
      </p:sp>
      <p:sp>
        <p:nvSpPr>
          <p:cNvPr id="4" name="Text Placeholder 3"/>
          <p:cNvSpPr>
            <a:spLocks noGrp="1"/>
          </p:cNvSpPr>
          <p:nvPr>
            <p:ph type="body" sz="half" idx="2"/>
          </p:nvPr>
        </p:nvSpPr>
        <p:spPr>
          <a:xfrm>
            <a:off x="2438400" y="1166787"/>
            <a:ext cx="7315200" cy="530352"/>
          </a:xfrm>
        </p:spPr>
        <p:txBody>
          <a:bodyPr lIns="45720" tIns="45720" rIns="45720" anchor="t"/>
          <a:lstStyle>
            <a:lvl1pPr marL="0" indent="0" algn="ctr">
              <a:buNone/>
              <a:defRPr sz="1400"/>
            </a:lvl1pPr>
            <a:lvl2pPr>
              <a:defRPr sz="1200"/>
            </a:lvl2pPr>
            <a:lvl3pPr>
              <a:defRPr sz="1000"/>
            </a:lvl3pPr>
            <a:lvl4pPr>
              <a:defRPr sz="900"/>
            </a:lvl4pPr>
            <a:lvl5pPr>
              <a:defRPr sz="900"/>
            </a:lvl5pPr>
          </a:lstStyle>
          <a:p>
            <a:pPr lvl="0" eaLnBrk="1" latinLnBrk="0" hangingPunct="1"/>
            <a:r>
              <a:rPr kumimoji="0" lang="en-US"/>
              <a:t>Click to edit Master text styles</a:t>
            </a:r>
          </a:p>
        </p:txBody>
      </p:sp>
      <p:sp>
        <p:nvSpPr>
          <p:cNvPr id="5" name="Date Placeholder 4"/>
          <p:cNvSpPr>
            <a:spLocks noGrp="1"/>
          </p:cNvSpPr>
          <p:nvPr>
            <p:ph type="dt" sz="half" idx="10"/>
          </p:nvPr>
        </p:nvSpPr>
        <p:spPr/>
        <p:txBody>
          <a:bodyPr/>
          <a:lstStyle/>
          <a:p>
            <a:fld id="{5E8A676A-DB61-4A80-A8D2-E10DCA1505DA}" type="datetimeFigureOut">
              <a:rPr lang="en-US" smtClean="0"/>
              <a:t>10/3/202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2D47C796-D617-45C9-B62F-3FCF800DD0FC}" type="slidenum">
              <a:rPr lang="en-US" smtClean="0"/>
              <a:t>‹#›</a:t>
            </a:fld>
            <a:endParaRPr lang="en-US"/>
          </a:p>
        </p:txBody>
      </p:sp>
    </p:spTree>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kumimoji="0" lang="en-US"/>
              <a:t>Click to edit Master title style</a:t>
            </a:r>
          </a:p>
        </p:txBody>
      </p:sp>
      <p:sp>
        <p:nvSpPr>
          <p:cNvPr id="3" name="Vertical Text Placeholder 2"/>
          <p:cNvSpPr>
            <a:spLocks noGrp="1"/>
          </p:cNvSpPr>
          <p:nvPr>
            <p:ph type="body" orient="vert" idx="1"/>
          </p:nvPr>
        </p:nvSpPr>
        <p:spPr/>
        <p:txBody>
          <a:bodyPr vert="eaVert"/>
          <a:lstStyle/>
          <a:p>
            <a:pPr lvl="0" eaLnBrk="1" latinLnBrk="0" hangingPunct="1"/>
            <a:r>
              <a:rPr lang="en-US"/>
              <a:t>Click to edit Master text styles</a:t>
            </a:r>
          </a:p>
          <a:p>
            <a:pPr lvl="1" eaLnBrk="1" latinLnBrk="0" hangingPunct="1"/>
            <a:r>
              <a:rPr lang="en-US"/>
              <a:t>Second level</a:t>
            </a:r>
          </a:p>
          <a:p>
            <a:pPr lvl="2" eaLnBrk="1" latinLnBrk="0" hangingPunct="1"/>
            <a:r>
              <a:rPr lang="en-US"/>
              <a:t>Third level</a:t>
            </a:r>
          </a:p>
          <a:p>
            <a:pPr lvl="3" eaLnBrk="1" latinLnBrk="0" hangingPunct="1"/>
            <a:r>
              <a:rPr lang="en-US"/>
              <a:t>Fourth level</a:t>
            </a:r>
          </a:p>
          <a:p>
            <a:pPr lvl="4" eaLnBrk="1" latinLnBrk="0" hangingPunct="1"/>
            <a:r>
              <a:rPr lang="en-US"/>
              <a:t>Fifth level</a:t>
            </a:r>
            <a:endParaRPr kumimoji="0" lang="en-US"/>
          </a:p>
        </p:txBody>
      </p:sp>
      <p:sp>
        <p:nvSpPr>
          <p:cNvPr id="4" name="Date Placeholder 3"/>
          <p:cNvSpPr>
            <a:spLocks noGrp="1"/>
          </p:cNvSpPr>
          <p:nvPr>
            <p:ph type="dt" sz="half" idx="10"/>
          </p:nvPr>
        </p:nvSpPr>
        <p:spPr/>
        <p:txBody>
          <a:bodyPr/>
          <a:lstStyle/>
          <a:p>
            <a:fld id="{5E8A676A-DB61-4A80-A8D2-E10DCA1505DA}" type="datetimeFigureOut">
              <a:rPr lang="en-US" smtClean="0"/>
              <a:t>10/3/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D47C796-D617-45C9-B62F-3FCF800DD0FC}" type="slidenum">
              <a:rPr lang="en-US" smtClean="0"/>
              <a:t>‹#›</a:t>
            </a:fld>
            <a:endParaRPr lang="en-US"/>
          </a:p>
        </p:txBody>
      </p:sp>
    </p:spTree>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9200" y="274639"/>
            <a:ext cx="2743200" cy="5851525"/>
          </a:xfrm>
        </p:spPr>
        <p:txBody>
          <a:bodyPr vert="eaVert"/>
          <a:lstStyle/>
          <a:p>
            <a:r>
              <a:rPr kumimoji="0" lang="en-US"/>
              <a:t>Click to edit Master title style</a:t>
            </a:r>
          </a:p>
        </p:txBody>
      </p:sp>
      <p:sp>
        <p:nvSpPr>
          <p:cNvPr id="3" name="Vertical Text Placeholder 2"/>
          <p:cNvSpPr>
            <a:spLocks noGrp="1"/>
          </p:cNvSpPr>
          <p:nvPr>
            <p:ph type="body" orient="vert" idx="1"/>
          </p:nvPr>
        </p:nvSpPr>
        <p:spPr>
          <a:xfrm>
            <a:off x="609600" y="274639"/>
            <a:ext cx="8026400" cy="5851525"/>
          </a:xfrm>
        </p:spPr>
        <p:txBody>
          <a:bodyPr vert="eaVert"/>
          <a:lstStyle/>
          <a:p>
            <a:pPr lvl="0" eaLnBrk="1" latinLnBrk="0" hangingPunct="1"/>
            <a:r>
              <a:rPr lang="en-US"/>
              <a:t>Click to edit Master text styles</a:t>
            </a:r>
          </a:p>
          <a:p>
            <a:pPr lvl="1" eaLnBrk="1" latinLnBrk="0" hangingPunct="1"/>
            <a:r>
              <a:rPr lang="en-US"/>
              <a:t>Second level</a:t>
            </a:r>
          </a:p>
          <a:p>
            <a:pPr lvl="2" eaLnBrk="1" latinLnBrk="0" hangingPunct="1"/>
            <a:r>
              <a:rPr lang="en-US"/>
              <a:t>Third level</a:t>
            </a:r>
          </a:p>
          <a:p>
            <a:pPr lvl="3" eaLnBrk="1" latinLnBrk="0" hangingPunct="1"/>
            <a:r>
              <a:rPr lang="en-US"/>
              <a:t>Fourth level</a:t>
            </a:r>
          </a:p>
          <a:p>
            <a:pPr lvl="4" eaLnBrk="1" latinLnBrk="0" hangingPunct="1"/>
            <a:r>
              <a:rPr lang="en-US"/>
              <a:t>Fifth level</a:t>
            </a:r>
            <a:endParaRPr kumimoji="0" lang="en-US"/>
          </a:p>
        </p:txBody>
      </p:sp>
      <p:sp>
        <p:nvSpPr>
          <p:cNvPr id="4" name="Date Placeholder 3"/>
          <p:cNvSpPr>
            <a:spLocks noGrp="1"/>
          </p:cNvSpPr>
          <p:nvPr>
            <p:ph type="dt" sz="half" idx="10"/>
          </p:nvPr>
        </p:nvSpPr>
        <p:spPr/>
        <p:txBody>
          <a:bodyPr/>
          <a:lstStyle/>
          <a:p>
            <a:fld id="{5E8A676A-DB61-4A80-A8D2-E10DCA1505DA}" type="datetimeFigureOut">
              <a:rPr lang="en-US" smtClean="0"/>
              <a:t>10/3/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D47C796-D617-45C9-B62F-3FCF800DD0FC}" type="slidenum">
              <a:rPr lang="en-US" smtClean="0"/>
              <a:t>‹#›</a:t>
            </a:fld>
            <a:endParaRPr lang="en-US"/>
          </a:p>
        </p:txBody>
      </p:sp>
    </p:spTree>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01 slide master">
    <p:spTree>
      <p:nvGrpSpPr>
        <p:cNvPr id="1" name=""/>
        <p:cNvGrpSpPr/>
        <p:nvPr/>
      </p:nvGrpSpPr>
      <p:grpSpPr>
        <a:xfrm>
          <a:off x="0" y="0"/>
          <a:ext cx="0" cy="0"/>
          <a:chOff x="0" y="0"/>
          <a:chExt cx="0" cy="0"/>
        </a:xfrm>
      </p:grpSpPr>
    </p:spTree>
    <p:extLst>
      <p:ext uri="{BB962C8B-B14F-4D97-AF65-F5344CB8AC3E}">
        <p14:creationId xmlns:p14="http://schemas.microsoft.com/office/powerpoint/2010/main" val="2518266661"/>
      </p:ext>
    </p:extLst>
  </p:cSld>
  <p:clrMapOvr>
    <a:masterClrMapping/>
  </p:clrMapOvr>
  <p:transition spd="slow">
    <p:push dir="u"/>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20_Title Slide">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1E54900A-3239-498F-9C25-363490915BCE}"/>
              </a:ext>
            </a:extLst>
          </p:cNvPr>
          <p:cNvSpPr>
            <a:spLocks noGrp="1"/>
          </p:cNvSpPr>
          <p:nvPr>
            <p:ph type="pic" sz="quarter" idx="12"/>
          </p:nvPr>
        </p:nvSpPr>
        <p:spPr>
          <a:xfrm>
            <a:off x="10356440" y="255743"/>
            <a:ext cx="1626599" cy="1626599"/>
          </a:xfrm>
          <a:pattFill prst="ltUpDiag">
            <a:fgClr>
              <a:schemeClr val="accent1"/>
            </a:fgClr>
            <a:bgClr>
              <a:schemeClr val="bg1"/>
            </a:bgClr>
          </a:pattFill>
          <a:ln w="25400">
            <a:noFill/>
          </a:ln>
        </p:spPr>
        <p:txBody>
          <a:bodyPr>
            <a:noAutofit/>
          </a:bodyPr>
          <a:lstStyle>
            <a:lvl1pPr>
              <a:defRPr sz="1000">
                <a:latin typeface="Arial" panose="020B0604020202020204" pitchFamily="34" charset="0"/>
                <a:cs typeface="Arial" panose="020B0604020202020204" pitchFamily="34" charset="0"/>
              </a:defRPr>
            </a:lvl1pPr>
          </a:lstStyle>
          <a:p>
            <a:endParaRPr lang="en-ID"/>
          </a:p>
        </p:txBody>
      </p:sp>
    </p:spTree>
    <p:extLst>
      <p:ext uri="{BB962C8B-B14F-4D97-AF65-F5344CB8AC3E}">
        <p14:creationId xmlns:p14="http://schemas.microsoft.com/office/powerpoint/2010/main" val="560585760"/>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04 slide master">
    <p:spTree>
      <p:nvGrpSpPr>
        <p:cNvPr id="1" name=""/>
        <p:cNvGrpSpPr/>
        <p:nvPr/>
      </p:nvGrpSpPr>
      <p:grpSpPr>
        <a:xfrm>
          <a:off x="0" y="0"/>
          <a:ext cx="0" cy="0"/>
          <a:chOff x="0" y="0"/>
          <a:chExt cx="0" cy="0"/>
        </a:xfrm>
      </p:grpSpPr>
      <p:sp>
        <p:nvSpPr>
          <p:cNvPr id="4" name="Picture Placeholder 2">
            <a:extLst>
              <a:ext uri="{FF2B5EF4-FFF2-40B4-BE49-F238E27FC236}">
                <a16:creationId xmlns:a16="http://schemas.microsoft.com/office/drawing/2014/main" id="{84980A28-5BDF-44E3-8A93-2B93E3A8B237}"/>
              </a:ext>
            </a:extLst>
          </p:cNvPr>
          <p:cNvSpPr>
            <a:spLocks noGrp="1"/>
          </p:cNvSpPr>
          <p:nvPr>
            <p:ph type="pic" sz="quarter" idx="10" hasCustomPrompt="1"/>
          </p:nvPr>
        </p:nvSpPr>
        <p:spPr>
          <a:xfrm>
            <a:off x="0" y="3429000"/>
            <a:ext cx="12192000" cy="3429000"/>
          </a:xfrm>
          <a:custGeom>
            <a:avLst/>
            <a:gdLst>
              <a:gd name="connsiteX0" fmla="*/ 0 w 2674962"/>
              <a:gd name="connsiteY0" fmla="*/ 0 h 2388358"/>
              <a:gd name="connsiteX1" fmla="*/ 2674962 w 2674962"/>
              <a:gd name="connsiteY1" fmla="*/ 0 h 2388358"/>
              <a:gd name="connsiteX2" fmla="*/ 2674962 w 2674962"/>
              <a:gd name="connsiteY2" fmla="*/ 2388358 h 2388358"/>
              <a:gd name="connsiteX3" fmla="*/ 0 w 2674962"/>
              <a:gd name="connsiteY3" fmla="*/ 2388358 h 2388358"/>
            </a:gdLst>
            <a:ahLst/>
            <a:cxnLst>
              <a:cxn ang="0">
                <a:pos x="connsiteX0" y="connsiteY0"/>
              </a:cxn>
              <a:cxn ang="0">
                <a:pos x="connsiteX1" y="connsiteY1"/>
              </a:cxn>
              <a:cxn ang="0">
                <a:pos x="connsiteX2" y="connsiteY2"/>
              </a:cxn>
              <a:cxn ang="0">
                <a:pos x="connsiteX3" y="connsiteY3"/>
              </a:cxn>
            </a:cxnLst>
            <a:rect l="l" t="t" r="r" b="b"/>
            <a:pathLst>
              <a:path w="2674962" h="2388358">
                <a:moveTo>
                  <a:pt x="0" y="0"/>
                </a:moveTo>
                <a:lnTo>
                  <a:pt x="2674962" y="0"/>
                </a:lnTo>
                <a:lnTo>
                  <a:pt x="2674962" y="2388358"/>
                </a:lnTo>
                <a:lnTo>
                  <a:pt x="0" y="2388358"/>
                </a:lnTo>
                <a:close/>
              </a:path>
            </a:pathLst>
          </a:custGeom>
          <a:pattFill prst="pct20">
            <a:fgClr>
              <a:schemeClr val="accent1"/>
            </a:fgClr>
            <a:bgClr>
              <a:schemeClr val="bg1"/>
            </a:bgClr>
          </a:pattFill>
        </p:spPr>
        <p:txBody>
          <a:bodyPr wrap="square" anchor="ctr">
            <a:noAutofit/>
          </a:bodyPr>
          <a:lstStyle>
            <a:lvl1pPr marL="0" indent="0" algn="ctr">
              <a:buNone/>
              <a:defRPr/>
            </a:lvl1pPr>
          </a:lstStyle>
          <a:p>
            <a:r>
              <a:rPr lang="en-GB" dirty="0"/>
              <a:t>ADD HERE</a:t>
            </a:r>
          </a:p>
        </p:txBody>
      </p:sp>
    </p:spTree>
    <p:extLst>
      <p:ext uri="{BB962C8B-B14F-4D97-AF65-F5344CB8AC3E}">
        <p14:creationId xmlns:p14="http://schemas.microsoft.com/office/powerpoint/2010/main" val="915633942"/>
      </p:ext>
    </p:extLst>
  </p:cSld>
  <p:clrMapOvr>
    <a:masterClrMapping/>
  </p:clrMapOvr>
  <p:transition spd="slow">
    <p:push dir="u"/>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18 slide master">
    <p:spTree>
      <p:nvGrpSpPr>
        <p:cNvPr id="1" name=""/>
        <p:cNvGrpSpPr/>
        <p:nvPr/>
      </p:nvGrpSpPr>
      <p:grpSpPr>
        <a:xfrm>
          <a:off x="0" y="0"/>
          <a:ext cx="0" cy="0"/>
          <a:chOff x="0" y="0"/>
          <a:chExt cx="0" cy="0"/>
        </a:xfrm>
      </p:grpSpPr>
      <p:sp>
        <p:nvSpPr>
          <p:cNvPr id="11" name="Picture Placeholder 1">
            <a:extLst>
              <a:ext uri="{FF2B5EF4-FFF2-40B4-BE49-F238E27FC236}">
                <a16:creationId xmlns:a16="http://schemas.microsoft.com/office/drawing/2014/main" id="{764CD8EF-AF00-48B0-95AB-C1953911030C}"/>
              </a:ext>
            </a:extLst>
          </p:cNvPr>
          <p:cNvSpPr>
            <a:spLocks noGrp="1"/>
          </p:cNvSpPr>
          <p:nvPr>
            <p:ph type="pic" sz="quarter" idx="13" hasCustomPrompt="1"/>
          </p:nvPr>
        </p:nvSpPr>
        <p:spPr>
          <a:xfrm>
            <a:off x="5575299" y="2105024"/>
            <a:ext cx="3644901" cy="2203451"/>
          </a:xfrm>
          <a:custGeom>
            <a:avLst/>
            <a:gdLst>
              <a:gd name="connsiteX0" fmla="*/ 0 w 2674962"/>
              <a:gd name="connsiteY0" fmla="*/ 0 h 2388358"/>
              <a:gd name="connsiteX1" fmla="*/ 2674962 w 2674962"/>
              <a:gd name="connsiteY1" fmla="*/ 0 h 2388358"/>
              <a:gd name="connsiteX2" fmla="*/ 2674962 w 2674962"/>
              <a:gd name="connsiteY2" fmla="*/ 2388358 h 2388358"/>
              <a:gd name="connsiteX3" fmla="*/ 0 w 2674962"/>
              <a:gd name="connsiteY3" fmla="*/ 2388358 h 2388358"/>
            </a:gdLst>
            <a:ahLst/>
            <a:cxnLst>
              <a:cxn ang="0">
                <a:pos x="connsiteX0" y="connsiteY0"/>
              </a:cxn>
              <a:cxn ang="0">
                <a:pos x="connsiteX1" y="connsiteY1"/>
              </a:cxn>
              <a:cxn ang="0">
                <a:pos x="connsiteX2" y="connsiteY2"/>
              </a:cxn>
              <a:cxn ang="0">
                <a:pos x="connsiteX3" y="connsiteY3"/>
              </a:cxn>
            </a:cxnLst>
            <a:rect l="l" t="t" r="r" b="b"/>
            <a:pathLst>
              <a:path w="2674962" h="2388358">
                <a:moveTo>
                  <a:pt x="0" y="0"/>
                </a:moveTo>
                <a:lnTo>
                  <a:pt x="2674962" y="0"/>
                </a:lnTo>
                <a:lnTo>
                  <a:pt x="2674962" y="2388358"/>
                </a:lnTo>
                <a:lnTo>
                  <a:pt x="0" y="2388358"/>
                </a:lnTo>
                <a:close/>
              </a:path>
            </a:pathLst>
          </a:custGeom>
          <a:pattFill prst="pct20">
            <a:fgClr>
              <a:schemeClr val="accent1"/>
            </a:fgClr>
            <a:bgClr>
              <a:schemeClr val="bg1"/>
            </a:bgClr>
          </a:pattFill>
        </p:spPr>
        <p:txBody>
          <a:bodyPr wrap="square" anchor="ctr">
            <a:noAutofit/>
          </a:bodyPr>
          <a:lstStyle>
            <a:lvl1pPr marL="0" indent="0" algn="ctr">
              <a:buNone/>
              <a:defRPr/>
            </a:lvl1pPr>
          </a:lstStyle>
          <a:p>
            <a:r>
              <a:rPr lang="en-GB" dirty="0"/>
              <a:t>ADD HERE</a:t>
            </a:r>
          </a:p>
        </p:txBody>
      </p:sp>
    </p:spTree>
    <p:extLst>
      <p:ext uri="{BB962C8B-B14F-4D97-AF65-F5344CB8AC3E}">
        <p14:creationId xmlns:p14="http://schemas.microsoft.com/office/powerpoint/2010/main" val="690975165"/>
      </p:ext>
    </p:extLst>
  </p:cSld>
  <p:clrMapOvr>
    <a:masterClrMapping/>
  </p:clrMapOvr>
  <p:transition spd="slow">
    <p:push dir="u"/>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userDrawn="1">
  <p:cSld name="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2"/>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Invest in Remarkable Rwanda_2019 April.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1885273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9_Title Slide">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id="{15C2214E-9DCE-4282-A6BC-B2BC511F9FB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2190710">
            <a:off x="8476507" y="2094793"/>
            <a:ext cx="3102408" cy="3384440"/>
          </a:xfrm>
          <a:prstGeom prst="rect">
            <a:avLst/>
          </a:prstGeom>
          <a:effectLst>
            <a:outerShdw blurRad="635000" dist="952500" dir="5400000" sx="80000" sy="80000" algn="t" rotWithShape="0">
              <a:srgbClr val="EE9012">
                <a:alpha val="15000"/>
              </a:srgbClr>
            </a:outerShdw>
          </a:effectLst>
        </p:spPr>
      </p:pic>
      <p:sp>
        <p:nvSpPr>
          <p:cNvPr id="5" name="Picture Placeholder 3">
            <a:extLst>
              <a:ext uri="{FF2B5EF4-FFF2-40B4-BE49-F238E27FC236}">
                <a16:creationId xmlns:a16="http://schemas.microsoft.com/office/drawing/2014/main" id="{E9A0C03E-2D97-4F76-9C14-C37FF0A4633E}"/>
              </a:ext>
            </a:extLst>
          </p:cNvPr>
          <p:cNvSpPr>
            <a:spLocks noGrp="1"/>
          </p:cNvSpPr>
          <p:nvPr>
            <p:ph type="pic" sz="quarter" idx="12"/>
          </p:nvPr>
        </p:nvSpPr>
        <p:spPr>
          <a:xfrm>
            <a:off x="778627" y="1633514"/>
            <a:ext cx="1925638" cy="2413000"/>
          </a:xfrm>
          <a:pattFill prst="ltUpDiag">
            <a:fgClr>
              <a:schemeClr val="accent1"/>
            </a:fgClr>
            <a:bgClr>
              <a:schemeClr val="bg1"/>
            </a:bgClr>
          </a:pattFill>
          <a:ln w="25400">
            <a:noFill/>
          </a:ln>
        </p:spPr>
        <p:txBody>
          <a:bodyPr>
            <a:noAutofit/>
          </a:bodyPr>
          <a:lstStyle>
            <a:lvl1pPr>
              <a:defRPr sz="1000">
                <a:latin typeface="Arial" panose="020B0604020202020204" pitchFamily="34" charset="0"/>
                <a:cs typeface="Arial" panose="020B0604020202020204" pitchFamily="34" charset="0"/>
              </a:defRPr>
            </a:lvl1pPr>
          </a:lstStyle>
          <a:p>
            <a:endParaRPr lang="en-ID"/>
          </a:p>
        </p:txBody>
      </p:sp>
      <p:sp>
        <p:nvSpPr>
          <p:cNvPr id="8" name="Picture Placeholder 3">
            <a:extLst>
              <a:ext uri="{FF2B5EF4-FFF2-40B4-BE49-F238E27FC236}">
                <a16:creationId xmlns:a16="http://schemas.microsoft.com/office/drawing/2014/main" id="{5B97824C-F213-43EE-A5B4-B8F62482912F}"/>
              </a:ext>
            </a:extLst>
          </p:cNvPr>
          <p:cNvSpPr>
            <a:spLocks noGrp="1"/>
          </p:cNvSpPr>
          <p:nvPr>
            <p:ph type="pic" sz="quarter" idx="10"/>
          </p:nvPr>
        </p:nvSpPr>
        <p:spPr>
          <a:xfrm>
            <a:off x="7809459" y="786388"/>
            <a:ext cx="2531449" cy="5283669"/>
          </a:xfrm>
          <a:prstGeom prst="roundRect">
            <a:avLst>
              <a:gd name="adj" fmla="val 6389"/>
            </a:avLst>
          </a:prstGeom>
          <a:pattFill prst="ltUpDiag">
            <a:fgClr>
              <a:schemeClr val="accent1"/>
            </a:fgClr>
            <a:bgClr>
              <a:schemeClr val="bg1"/>
            </a:bgClr>
          </a:pattFill>
          <a:effectLst/>
        </p:spPr>
        <p:txBody>
          <a:bodyPr>
            <a:noAutofit/>
          </a:bodyPr>
          <a:lstStyle>
            <a:lvl1pPr>
              <a:defRPr sz="1000">
                <a:latin typeface="Arial" panose="020B0604020202020204" pitchFamily="34" charset="0"/>
                <a:cs typeface="Arial" panose="020B0604020202020204" pitchFamily="34" charset="0"/>
              </a:defRPr>
            </a:lvl1pPr>
          </a:lstStyle>
          <a:p>
            <a:endParaRPr lang="en-ID"/>
          </a:p>
        </p:txBody>
      </p:sp>
    </p:spTree>
    <p:extLst>
      <p:ext uri="{BB962C8B-B14F-4D97-AF65-F5344CB8AC3E}">
        <p14:creationId xmlns:p14="http://schemas.microsoft.com/office/powerpoint/2010/main" val="85527805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8_Title Slide">
    <p:spTree>
      <p:nvGrpSpPr>
        <p:cNvPr id="1" name=""/>
        <p:cNvGrpSpPr/>
        <p:nvPr/>
      </p:nvGrpSpPr>
      <p:grpSpPr>
        <a:xfrm>
          <a:off x="0" y="0"/>
          <a:ext cx="0" cy="0"/>
          <a:chOff x="0" y="0"/>
          <a:chExt cx="0" cy="0"/>
        </a:xfrm>
      </p:grpSpPr>
      <p:sp>
        <p:nvSpPr>
          <p:cNvPr id="12" name="Picture Placeholder 3">
            <a:extLst>
              <a:ext uri="{FF2B5EF4-FFF2-40B4-BE49-F238E27FC236}">
                <a16:creationId xmlns:a16="http://schemas.microsoft.com/office/drawing/2014/main" id="{A2DD896B-B0B8-490C-A8AC-CB3A2AEB0665}"/>
              </a:ext>
            </a:extLst>
          </p:cNvPr>
          <p:cNvSpPr>
            <a:spLocks noGrp="1"/>
          </p:cNvSpPr>
          <p:nvPr>
            <p:ph type="pic" sz="quarter" idx="16"/>
          </p:nvPr>
        </p:nvSpPr>
        <p:spPr>
          <a:xfrm>
            <a:off x="685800" y="0"/>
            <a:ext cx="11506200" cy="6858000"/>
          </a:xfrm>
          <a:pattFill prst="ltUpDiag">
            <a:fgClr>
              <a:schemeClr val="accent1"/>
            </a:fgClr>
            <a:bgClr>
              <a:schemeClr val="bg1"/>
            </a:bgClr>
          </a:pattFill>
          <a:ln w="25400">
            <a:noFill/>
          </a:ln>
        </p:spPr>
        <p:txBody>
          <a:bodyPr>
            <a:noAutofit/>
          </a:bodyPr>
          <a:lstStyle>
            <a:lvl1pPr>
              <a:defRPr sz="1000">
                <a:latin typeface="Arial" panose="020B0604020202020204" pitchFamily="34" charset="0"/>
                <a:cs typeface="Arial" panose="020B0604020202020204" pitchFamily="34" charset="0"/>
              </a:defRPr>
            </a:lvl1pPr>
          </a:lstStyle>
          <a:p>
            <a:endParaRPr lang="en-ID"/>
          </a:p>
        </p:txBody>
      </p:sp>
      <p:sp>
        <p:nvSpPr>
          <p:cNvPr id="6" name="Picture Placeholder 3">
            <a:extLst>
              <a:ext uri="{FF2B5EF4-FFF2-40B4-BE49-F238E27FC236}">
                <a16:creationId xmlns:a16="http://schemas.microsoft.com/office/drawing/2014/main" id="{60816703-A9E5-4DDD-B0B6-09DCA20A7778}"/>
              </a:ext>
            </a:extLst>
          </p:cNvPr>
          <p:cNvSpPr>
            <a:spLocks noGrp="1"/>
          </p:cNvSpPr>
          <p:nvPr>
            <p:ph type="pic" sz="quarter" idx="14"/>
          </p:nvPr>
        </p:nvSpPr>
        <p:spPr>
          <a:xfrm>
            <a:off x="390525" y="2435004"/>
            <a:ext cx="1925738" cy="2413222"/>
          </a:xfrm>
          <a:pattFill prst="ltUpDiag">
            <a:fgClr>
              <a:schemeClr val="accent1"/>
            </a:fgClr>
            <a:bgClr>
              <a:schemeClr val="bg1"/>
            </a:bgClr>
          </a:pattFill>
          <a:ln w="25400">
            <a:noFill/>
          </a:ln>
          <a:effectLst>
            <a:outerShdw blurRad="508000" dist="762000" dir="5400000" sx="76000" sy="76000" algn="t" rotWithShape="0">
              <a:prstClr val="black">
                <a:alpha val="40000"/>
              </a:prstClr>
            </a:outerShdw>
          </a:effectLst>
        </p:spPr>
        <p:txBody>
          <a:bodyPr>
            <a:noAutofit/>
          </a:bodyPr>
          <a:lstStyle>
            <a:lvl1pPr>
              <a:defRPr sz="1000">
                <a:latin typeface="Arial" panose="020B0604020202020204" pitchFamily="34" charset="0"/>
                <a:cs typeface="Arial" panose="020B0604020202020204" pitchFamily="34" charset="0"/>
              </a:defRPr>
            </a:lvl1pPr>
          </a:lstStyle>
          <a:p>
            <a:endParaRPr lang="en-ID"/>
          </a:p>
        </p:txBody>
      </p:sp>
      <p:sp>
        <p:nvSpPr>
          <p:cNvPr id="7" name="Picture Placeholder 3">
            <a:extLst>
              <a:ext uri="{FF2B5EF4-FFF2-40B4-BE49-F238E27FC236}">
                <a16:creationId xmlns:a16="http://schemas.microsoft.com/office/drawing/2014/main" id="{9FC26F91-D90B-411D-89F7-05DC6B41AC15}"/>
              </a:ext>
            </a:extLst>
          </p:cNvPr>
          <p:cNvSpPr>
            <a:spLocks noGrp="1"/>
          </p:cNvSpPr>
          <p:nvPr>
            <p:ph type="pic" sz="quarter" idx="15"/>
          </p:nvPr>
        </p:nvSpPr>
        <p:spPr>
          <a:xfrm flipH="1">
            <a:off x="7106790" y="2435003"/>
            <a:ext cx="4532380" cy="2525354"/>
          </a:xfrm>
          <a:pattFill prst="ltUpDiag">
            <a:fgClr>
              <a:schemeClr val="accent1"/>
            </a:fgClr>
            <a:bgClr>
              <a:schemeClr val="bg1"/>
            </a:bgClr>
          </a:pattFill>
          <a:ln w="25400">
            <a:noFill/>
          </a:ln>
        </p:spPr>
        <p:txBody>
          <a:bodyPr>
            <a:noAutofit/>
          </a:bodyPr>
          <a:lstStyle>
            <a:lvl1pPr>
              <a:defRPr sz="1000">
                <a:latin typeface="Arial" panose="020B0604020202020204" pitchFamily="34" charset="0"/>
                <a:cs typeface="Arial" panose="020B0604020202020204" pitchFamily="34" charset="0"/>
              </a:defRPr>
            </a:lvl1pPr>
          </a:lstStyle>
          <a:p>
            <a:endParaRPr lang="en-ID"/>
          </a:p>
        </p:txBody>
      </p:sp>
    </p:spTree>
    <p:extLst>
      <p:ext uri="{BB962C8B-B14F-4D97-AF65-F5344CB8AC3E}">
        <p14:creationId xmlns:p14="http://schemas.microsoft.com/office/powerpoint/2010/main" val="344864250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7_Title Slide">
    <p:spTree>
      <p:nvGrpSpPr>
        <p:cNvPr id="1" name=""/>
        <p:cNvGrpSpPr/>
        <p:nvPr/>
      </p:nvGrpSpPr>
      <p:grpSpPr>
        <a:xfrm>
          <a:off x="0" y="0"/>
          <a:ext cx="0" cy="0"/>
          <a:chOff x="0" y="0"/>
          <a:chExt cx="0" cy="0"/>
        </a:xfrm>
      </p:grpSpPr>
      <p:sp>
        <p:nvSpPr>
          <p:cNvPr id="10" name="Picture Placeholder 3">
            <a:extLst>
              <a:ext uri="{FF2B5EF4-FFF2-40B4-BE49-F238E27FC236}">
                <a16:creationId xmlns:a16="http://schemas.microsoft.com/office/drawing/2014/main" id="{9CD1415D-B4BB-4AC2-BEE1-481076CBEB09}"/>
              </a:ext>
            </a:extLst>
          </p:cNvPr>
          <p:cNvSpPr>
            <a:spLocks noGrp="1"/>
          </p:cNvSpPr>
          <p:nvPr>
            <p:ph type="pic" sz="quarter" idx="12"/>
          </p:nvPr>
        </p:nvSpPr>
        <p:spPr>
          <a:xfrm flipH="1">
            <a:off x="5417456" y="-1"/>
            <a:ext cx="6786336" cy="4047220"/>
          </a:xfrm>
          <a:pattFill prst="ltUpDiag">
            <a:fgClr>
              <a:schemeClr val="accent1"/>
            </a:fgClr>
            <a:bgClr>
              <a:schemeClr val="bg1"/>
            </a:bgClr>
          </a:pattFill>
          <a:ln w="25400">
            <a:noFill/>
          </a:ln>
        </p:spPr>
        <p:txBody>
          <a:bodyPr>
            <a:noAutofit/>
          </a:bodyPr>
          <a:lstStyle>
            <a:lvl1pPr>
              <a:defRPr sz="1000">
                <a:latin typeface="Arial" panose="020B0604020202020204" pitchFamily="34" charset="0"/>
                <a:cs typeface="Arial" panose="020B0604020202020204" pitchFamily="34" charset="0"/>
              </a:defRPr>
            </a:lvl1pPr>
          </a:lstStyle>
          <a:p>
            <a:endParaRPr lang="en-ID"/>
          </a:p>
        </p:txBody>
      </p:sp>
      <p:sp>
        <p:nvSpPr>
          <p:cNvPr id="11" name="Picture Placeholder 3">
            <a:extLst>
              <a:ext uri="{FF2B5EF4-FFF2-40B4-BE49-F238E27FC236}">
                <a16:creationId xmlns:a16="http://schemas.microsoft.com/office/drawing/2014/main" id="{58038849-F651-484D-B177-219E16B72861}"/>
              </a:ext>
            </a:extLst>
          </p:cNvPr>
          <p:cNvSpPr>
            <a:spLocks noGrp="1"/>
          </p:cNvSpPr>
          <p:nvPr>
            <p:ph type="pic" sz="quarter" idx="13"/>
          </p:nvPr>
        </p:nvSpPr>
        <p:spPr>
          <a:xfrm flipH="1">
            <a:off x="8403318" y="4047219"/>
            <a:ext cx="3812268" cy="2810781"/>
          </a:xfrm>
          <a:pattFill prst="ltUpDiag">
            <a:fgClr>
              <a:schemeClr val="accent1"/>
            </a:fgClr>
            <a:bgClr>
              <a:schemeClr val="bg1"/>
            </a:bgClr>
          </a:pattFill>
          <a:ln w="25400">
            <a:noFill/>
          </a:ln>
        </p:spPr>
        <p:txBody>
          <a:bodyPr>
            <a:noAutofit/>
          </a:bodyPr>
          <a:lstStyle>
            <a:lvl1pPr>
              <a:defRPr sz="1000">
                <a:latin typeface="Arial" panose="020B0604020202020204" pitchFamily="34" charset="0"/>
                <a:cs typeface="Arial" panose="020B0604020202020204" pitchFamily="34" charset="0"/>
              </a:defRPr>
            </a:lvl1pPr>
          </a:lstStyle>
          <a:p>
            <a:endParaRPr lang="en-ID"/>
          </a:p>
        </p:txBody>
      </p:sp>
      <p:sp>
        <p:nvSpPr>
          <p:cNvPr id="12" name="Picture Placeholder 3">
            <a:extLst>
              <a:ext uri="{FF2B5EF4-FFF2-40B4-BE49-F238E27FC236}">
                <a16:creationId xmlns:a16="http://schemas.microsoft.com/office/drawing/2014/main" id="{E434CEA8-34B1-4BAE-89C9-8DFE2B2E37A1}"/>
              </a:ext>
            </a:extLst>
          </p:cNvPr>
          <p:cNvSpPr>
            <a:spLocks noGrp="1"/>
          </p:cNvSpPr>
          <p:nvPr>
            <p:ph type="pic" sz="quarter" idx="14"/>
          </p:nvPr>
        </p:nvSpPr>
        <p:spPr>
          <a:xfrm flipH="1">
            <a:off x="3324224" y="4047219"/>
            <a:ext cx="5079093" cy="2810781"/>
          </a:xfrm>
          <a:pattFill prst="ltUpDiag">
            <a:fgClr>
              <a:schemeClr val="accent1"/>
            </a:fgClr>
            <a:bgClr>
              <a:schemeClr val="bg1"/>
            </a:bgClr>
          </a:pattFill>
          <a:ln w="25400">
            <a:noFill/>
          </a:ln>
        </p:spPr>
        <p:txBody>
          <a:bodyPr>
            <a:noAutofit/>
          </a:bodyPr>
          <a:lstStyle>
            <a:lvl1pPr>
              <a:defRPr sz="1000">
                <a:latin typeface="Arial" panose="020B0604020202020204" pitchFamily="34" charset="0"/>
                <a:cs typeface="Arial" panose="020B0604020202020204" pitchFamily="34" charset="0"/>
              </a:defRPr>
            </a:lvl1pPr>
          </a:lstStyle>
          <a:p>
            <a:endParaRPr lang="en-ID"/>
          </a:p>
        </p:txBody>
      </p:sp>
      <p:sp>
        <p:nvSpPr>
          <p:cNvPr id="13" name="Picture Placeholder 3">
            <a:extLst>
              <a:ext uri="{FF2B5EF4-FFF2-40B4-BE49-F238E27FC236}">
                <a16:creationId xmlns:a16="http://schemas.microsoft.com/office/drawing/2014/main" id="{442039C0-AFE4-4F73-8E12-B8DF3EF0E81A}"/>
              </a:ext>
            </a:extLst>
          </p:cNvPr>
          <p:cNvSpPr>
            <a:spLocks noGrp="1"/>
          </p:cNvSpPr>
          <p:nvPr>
            <p:ph type="pic" sz="quarter" idx="15"/>
          </p:nvPr>
        </p:nvSpPr>
        <p:spPr>
          <a:xfrm flipH="1">
            <a:off x="0" y="4047219"/>
            <a:ext cx="3324224" cy="2810781"/>
          </a:xfrm>
          <a:pattFill prst="ltUpDiag">
            <a:fgClr>
              <a:schemeClr val="accent1"/>
            </a:fgClr>
            <a:bgClr>
              <a:schemeClr val="bg1"/>
            </a:bgClr>
          </a:pattFill>
          <a:ln w="25400">
            <a:noFill/>
          </a:ln>
        </p:spPr>
        <p:txBody>
          <a:bodyPr>
            <a:noAutofit/>
          </a:bodyPr>
          <a:lstStyle>
            <a:lvl1pPr>
              <a:defRPr sz="1000">
                <a:latin typeface="Arial" panose="020B0604020202020204" pitchFamily="34" charset="0"/>
                <a:cs typeface="Arial" panose="020B0604020202020204" pitchFamily="34" charset="0"/>
              </a:defRPr>
            </a:lvl1pPr>
          </a:lstStyle>
          <a:p>
            <a:endParaRPr lang="en-ID"/>
          </a:p>
        </p:txBody>
      </p:sp>
    </p:spTree>
    <p:extLst>
      <p:ext uri="{BB962C8B-B14F-4D97-AF65-F5344CB8AC3E}">
        <p14:creationId xmlns:p14="http://schemas.microsoft.com/office/powerpoint/2010/main" val="213155266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6_Title Slide">
    <p:spTree>
      <p:nvGrpSpPr>
        <p:cNvPr id="1" name=""/>
        <p:cNvGrpSpPr/>
        <p:nvPr/>
      </p:nvGrpSpPr>
      <p:grpSpPr>
        <a:xfrm>
          <a:off x="0" y="0"/>
          <a:ext cx="0" cy="0"/>
          <a:chOff x="0" y="0"/>
          <a:chExt cx="0" cy="0"/>
        </a:xfrm>
      </p:grpSpPr>
      <p:sp>
        <p:nvSpPr>
          <p:cNvPr id="8" name="Picture Placeholder 3">
            <a:extLst>
              <a:ext uri="{FF2B5EF4-FFF2-40B4-BE49-F238E27FC236}">
                <a16:creationId xmlns:a16="http://schemas.microsoft.com/office/drawing/2014/main" id="{D0D638C7-A772-4F22-9FD5-37D1C6F23CD0}"/>
              </a:ext>
            </a:extLst>
          </p:cNvPr>
          <p:cNvSpPr>
            <a:spLocks noGrp="1"/>
          </p:cNvSpPr>
          <p:nvPr>
            <p:ph type="pic" sz="quarter" idx="10"/>
          </p:nvPr>
        </p:nvSpPr>
        <p:spPr>
          <a:xfrm>
            <a:off x="638115" y="3314699"/>
            <a:ext cx="2638425" cy="3543299"/>
          </a:xfrm>
          <a:pattFill prst="ltUpDiag">
            <a:fgClr>
              <a:schemeClr val="accent1"/>
            </a:fgClr>
            <a:bgClr>
              <a:schemeClr val="bg1"/>
            </a:bgClr>
          </a:pattFill>
          <a:ln w="25400">
            <a:noFill/>
          </a:ln>
        </p:spPr>
        <p:txBody>
          <a:bodyPr>
            <a:noAutofit/>
          </a:bodyPr>
          <a:lstStyle>
            <a:lvl1pPr>
              <a:defRPr sz="1000">
                <a:latin typeface="Arial" panose="020B0604020202020204" pitchFamily="34" charset="0"/>
                <a:cs typeface="Arial" panose="020B0604020202020204" pitchFamily="34" charset="0"/>
              </a:defRPr>
            </a:lvl1pPr>
          </a:lstStyle>
          <a:p>
            <a:endParaRPr lang="en-ID"/>
          </a:p>
        </p:txBody>
      </p:sp>
      <p:sp>
        <p:nvSpPr>
          <p:cNvPr id="9" name="Picture Placeholder 3">
            <a:extLst>
              <a:ext uri="{FF2B5EF4-FFF2-40B4-BE49-F238E27FC236}">
                <a16:creationId xmlns:a16="http://schemas.microsoft.com/office/drawing/2014/main" id="{901CC317-BA35-4294-B95D-DEF666F6B5EA}"/>
              </a:ext>
            </a:extLst>
          </p:cNvPr>
          <p:cNvSpPr>
            <a:spLocks noGrp="1"/>
          </p:cNvSpPr>
          <p:nvPr>
            <p:ph type="pic" sz="quarter" idx="11"/>
          </p:nvPr>
        </p:nvSpPr>
        <p:spPr>
          <a:xfrm>
            <a:off x="6962775" y="4143372"/>
            <a:ext cx="5229225" cy="2714625"/>
          </a:xfrm>
          <a:pattFill prst="ltUpDiag">
            <a:fgClr>
              <a:schemeClr val="accent1"/>
            </a:fgClr>
            <a:bgClr>
              <a:schemeClr val="bg1"/>
            </a:bgClr>
          </a:pattFill>
          <a:ln w="25400">
            <a:noFill/>
          </a:ln>
        </p:spPr>
        <p:txBody>
          <a:bodyPr>
            <a:noAutofit/>
          </a:bodyPr>
          <a:lstStyle>
            <a:lvl1pPr>
              <a:defRPr sz="1000">
                <a:latin typeface="Arial" panose="020B0604020202020204" pitchFamily="34" charset="0"/>
                <a:cs typeface="Arial" panose="020B0604020202020204" pitchFamily="34" charset="0"/>
              </a:defRPr>
            </a:lvl1pPr>
          </a:lstStyle>
          <a:p>
            <a:endParaRPr lang="en-ID"/>
          </a:p>
        </p:txBody>
      </p:sp>
      <p:sp>
        <p:nvSpPr>
          <p:cNvPr id="10" name="Picture Placeholder 3">
            <a:extLst>
              <a:ext uri="{FF2B5EF4-FFF2-40B4-BE49-F238E27FC236}">
                <a16:creationId xmlns:a16="http://schemas.microsoft.com/office/drawing/2014/main" id="{87F4966C-65A6-4561-9342-F597E5F405C8}"/>
              </a:ext>
            </a:extLst>
          </p:cNvPr>
          <p:cNvSpPr>
            <a:spLocks noGrp="1"/>
          </p:cNvSpPr>
          <p:nvPr>
            <p:ph type="pic" sz="quarter" idx="12"/>
          </p:nvPr>
        </p:nvSpPr>
        <p:spPr>
          <a:xfrm>
            <a:off x="5323519" y="-2"/>
            <a:ext cx="2638425" cy="3138773"/>
          </a:xfrm>
          <a:pattFill prst="ltUpDiag">
            <a:fgClr>
              <a:schemeClr val="accent1"/>
            </a:fgClr>
            <a:bgClr>
              <a:schemeClr val="bg1"/>
            </a:bgClr>
          </a:pattFill>
          <a:ln w="25400">
            <a:noFill/>
          </a:ln>
        </p:spPr>
        <p:txBody>
          <a:bodyPr>
            <a:noAutofit/>
          </a:bodyPr>
          <a:lstStyle>
            <a:lvl1pPr>
              <a:defRPr sz="1000">
                <a:latin typeface="Arial" panose="020B0604020202020204" pitchFamily="34" charset="0"/>
                <a:cs typeface="Arial" panose="020B0604020202020204" pitchFamily="34" charset="0"/>
              </a:defRPr>
            </a:lvl1pPr>
          </a:lstStyle>
          <a:p>
            <a:endParaRPr lang="en-ID"/>
          </a:p>
        </p:txBody>
      </p:sp>
    </p:spTree>
    <p:extLst>
      <p:ext uri="{BB962C8B-B14F-4D97-AF65-F5344CB8AC3E}">
        <p14:creationId xmlns:p14="http://schemas.microsoft.com/office/powerpoint/2010/main" val="284410474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5_Title Slide">
    <p:spTree>
      <p:nvGrpSpPr>
        <p:cNvPr id="1" name=""/>
        <p:cNvGrpSpPr/>
        <p:nvPr/>
      </p:nvGrpSpPr>
      <p:grpSpPr>
        <a:xfrm>
          <a:off x="0" y="0"/>
          <a:ext cx="0" cy="0"/>
          <a:chOff x="0" y="0"/>
          <a:chExt cx="0" cy="0"/>
        </a:xfrm>
      </p:grpSpPr>
      <p:sp>
        <p:nvSpPr>
          <p:cNvPr id="7" name="Picture Placeholder 3">
            <a:extLst>
              <a:ext uri="{FF2B5EF4-FFF2-40B4-BE49-F238E27FC236}">
                <a16:creationId xmlns:a16="http://schemas.microsoft.com/office/drawing/2014/main" id="{6087ECDD-805E-41A0-9843-560DBDD385E5}"/>
              </a:ext>
            </a:extLst>
          </p:cNvPr>
          <p:cNvSpPr>
            <a:spLocks noGrp="1"/>
          </p:cNvSpPr>
          <p:nvPr>
            <p:ph type="pic" sz="quarter" idx="10"/>
          </p:nvPr>
        </p:nvSpPr>
        <p:spPr>
          <a:xfrm>
            <a:off x="0" y="1"/>
            <a:ext cx="4810125" cy="2996236"/>
          </a:xfrm>
          <a:pattFill prst="ltUpDiag">
            <a:fgClr>
              <a:schemeClr val="accent1"/>
            </a:fgClr>
            <a:bgClr>
              <a:schemeClr val="bg1"/>
            </a:bgClr>
          </a:pattFill>
          <a:ln w="25400">
            <a:noFill/>
          </a:ln>
        </p:spPr>
        <p:txBody>
          <a:bodyPr>
            <a:noAutofit/>
          </a:bodyPr>
          <a:lstStyle>
            <a:lvl1pPr>
              <a:defRPr sz="1000">
                <a:latin typeface="Arial" panose="020B0604020202020204" pitchFamily="34" charset="0"/>
                <a:cs typeface="Arial" panose="020B0604020202020204" pitchFamily="34" charset="0"/>
              </a:defRPr>
            </a:lvl1pPr>
          </a:lstStyle>
          <a:p>
            <a:endParaRPr lang="en-ID"/>
          </a:p>
        </p:txBody>
      </p:sp>
      <p:sp>
        <p:nvSpPr>
          <p:cNvPr id="8" name="Picture Placeholder 3">
            <a:extLst>
              <a:ext uri="{FF2B5EF4-FFF2-40B4-BE49-F238E27FC236}">
                <a16:creationId xmlns:a16="http://schemas.microsoft.com/office/drawing/2014/main" id="{32DD4E9A-7676-47F7-A69F-E03E9AF842DE}"/>
              </a:ext>
            </a:extLst>
          </p:cNvPr>
          <p:cNvSpPr>
            <a:spLocks noGrp="1"/>
          </p:cNvSpPr>
          <p:nvPr>
            <p:ph type="pic" sz="quarter" idx="11"/>
          </p:nvPr>
        </p:nvSpPr>
        <p:spPr>
          <a:xfrm>
            <a:off x="4895849" y="0"/>
            <a:ext cx="4810125" cy="2996240"/>
          </a:xfrm>
          <a:pattFill prst="ltUpDiag">
            <a:fgClr>
              <a:schemeClr val="accent1"/>
            </a:fgClr>
            <a:bgClr>
              <a:schemeClr val="bg1"/>
            </a:bgClr>
          </a:pattFill>
          <a:ln w="25400">
            <a:noFill/>
          </a:ln>
        </p:spPr>
        <p:txBody>
          <a:bodyPr>
            <a:noAutofit/>
          </a:bodyPr>
          <a:lstStyle>
            <a:lvl1pPr>
              <a:defRPr sz="1000">
                <a:latin typeface="Arial" panose="020B0604020202020204" pitchFamily="34" charset="0"/>
                <a:cs typeface="Arial" panose="020B0604020202020204" pitchFamily="34" charset="0"/>
              </a:defRPr>
            </a:lvl1pPr>
          </a:lstStyle>
          <a:p>
            <a:endParaRPr lang="en-ID"/>
          </a:p>
        </p:txBody>
      </p:sp>
      <p:sp>
        <p:nvSpPr>
          <p:cNvPr id="9" name="Picture Placeholder 3">
            <a:extLst>
              <a:ext uri="{FF2B5EF4-FFF2-40B4-BE49-F238E27FC236}">
                <a16:creationId xmlns:a16="http://schemas.microsoft.com/office/drawing/2014/main" id="{73E24AAB-F064-490F-AF41-42A3B28C5C2D}"/>
              </a:ext>
            </a:extLst>
          </p:cNvPr>
          <p:cNvSpPr>
            <a:spLocks noGrp="1"/>
          </p:cNvSpPr>
          <p:nvPr>
            <p:ph type="pic" sz="quarter" idx="12"/>
          </p:nvPr>
        </p:nvSpPr>
        <p:spPr>
          <a:xfrm>
            <a:off x="9791698" y="0"/>
            <a:ext cx="2400302" cy="2996240"/>
          </a:xfrm>
          <a:pattFill prst="ltUpDiag">
            <a:fgClr>
              <a:schemeClr val="accent1"/>
            </a:fgClr>
            <a:bgClr>
              <a:schemeClr val="bg1"/>
            </a:bgClr>
          </a:pattFill>
          <a:ln w="25400">
            <a:noFill/>
          </a:ln>
        </p:spPr>
        <p:txBody>
          <a:bodyPr>
            <a:noAutofit/>
          </a:bodyPr>
          <a:lstStyle>
            <a:lvl1pPr>
              <a:defRPr sz="1000">
                <a:latin typeface="Arial" panose="020B0604020202020204" pitchFamily="34" charset="0"/>
                <a:cs typeface="Arial" panose="020B0604020202020204" pitchFamily="34" charset="0"/>
              </a:defRPr>
            </a:lvl1pPr>
          </a:lstStyle>
          <a:p>
            <a:endParaRPr lang="en-ID"/>
          </a:p>
        </p:txBody>
      </p:sp>
      <p:sp>
        <p:nvSpPr>
          <p:cNvPr id="10" name="Picture Placeholder 3">
            <a:extLst>
              <a:ext uri="{FF2B5EF4-FFF2-40B4-BE49-F238E27FC236}">
                <a16:creationId xmlns:a16="http://schemas.microsoft.com/office/drawing/2014/main" id="{789704A4-4D0F-4D7B-846C-4DF4F1BF9A68}"/>
              </a:ext>
            </a:extLst>
          </p:cNvPr>
          <p:cNvSpPr>
            <a:spLocks noGrp="1"/>
          </p:cNvSpPr>
          <p:nvPr>
            <p:ph type="pic" sz="quarter" idx="13"/>
          </p:nvPr>
        </p:nvSpPr>
        <p:spPr>
          <a:xfrm>
            <a:off x="4895849" y="3067050"/>
            <a:ext cx="2943026" cy="3790949"/>
          </a:xfrm>
          <a:pattFill prst="ltUpDiag">
            <a:fgClr>
              <a:schemeClr val="accent1"/>
            </a:fgClr>
            <a:bgClr>
              <a:schemeClr val="bg1"/>
            </a:bgClr>
          </a:pattFill>
          <a:ln w="25400">
            <a:noFill/>
          </a:ln>
        </p:spPr>
        <p:txBody>
          <a:bodyPr>
            <a:noAutofit/>
          </a:bodyPr>
          <a:lstStyle>
            <a:lvl1pPr>
              <a:defRPr sz="1000">
                <a:latin typeface="Arial" panose="020B0604020202020204" pitchFamily="34" charset="0"/>
                <a:cs typeface="Arial" panose="020B0604020202020204" pitchFamily="34" charset="0"/>
              </a:defRPr>
            </a:lvl1pPr>
          </a:lstStyle>
          <a:p>
            <a:endParaRPr lang="en-ID"/>
          </a:p>
        </p:txBody>
      </p:sp>
      <p:sp>
        <p:nvSpPr>
          <p:cNvPr id="11" name="Picture Placeholder 3">
            <a:extLst>
              <a:ext uri="{FF2B5EF4-FFF2-40B4-BE49-F238E27FC236}">
                <a16:creationId xmlns:a16="http://schemas.microsoft.com/office/drawing/2014/main" id="{0188F3F5-FB23-471D-855C-3604876C00A1}"/>
              </a:ext>
            </a:extLst>
          </p:cNvPr>
          <p:cNvSpPr>
            <a:spLocks noGrp="1"/>
          </p:cNvSpPr>
          <p:nvPr>
            <p:ph type="pic" sz="quarter" idx="14"/>
          </p:nvPr>
        </p:nvSpPr>
        <p:spPr>
          <a:xfrm>
            <a:off x="7924800" y="3067049"/>
            <a:ext cx="4267200" cy="3790949"/>
          </a:xfrm>
          <a:pattFill prst="ltUpDiag">
            <a:fgClr>
              <a:schemeClr val="accent1"/>
            </a:fgClr>
            <a:bgClr>
              <a:schemeClr val="bg1"/>
            </a:bgClr>
          </a:pattFill>
          <a:ln w="25400">
            <a:noFill/>
          </a:ln>
        </p:spPr>
        <p:txBody>
          <a:bodyPr>
            <a:noAutofit/>
          </a:bodyPr>
          <a:lstStyle>
            <a:lvl1pPr>
              <a:defRPr sz="1000">
                <a:latin typeface="Arial" panose="020B0604020202020204" pitchFamily="34" charset="0"/>
                <a:cs typeface="Arial" panose="020B0604020202020204" pitchFamily="34" charset="0"/>
              </a:defRPr>
            </a:lvl1pPr>
          </a:lstStyle>
          <a:p>
            <a:endParaRPr lang="en-ID"/>
          </a:p>
        </p:txBody>
      </p:sp>
    </p:spTree>
    <p:extLst>
      <p:ext uri="{BB962C8B-B14F-4D97-AF65-F5344CB8AC3E}">
        <p14:creationId xmlns:p14="http://schemas.microsoft.com/office/powerpoint/2010/main" val="178128627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5.xml"/><Relationship Id="rId13" Type="http://schemas.openxmlformats.org/officeDocument/2006/relationships/slideLayout" Target="../slideLayouts/slideLayout40.xml"/><Relationship Id="rId3" Type="http://schemas.openxmlformats.org/officeDocument/2006/relationships/slideLayout" Target="../slideLayouts/slideLayout30.xml"/><Relationship Id="rId7" Type="http://schemas.openxmlformats.org/officeDocument/2006/relationships/slideLayout" Target="../slideLayouts/slideLayout34.xml"/><Relationship Id="rId12" Type="http://schemas.openxmlformats.org/officeDocument/2006/relationships/slideLayout" Target="../slideLayouts/slideLayout39.xml"/><Relationship Id="rId2" Type="http://schemas.openxmlformats.org/officeDocument/2006/relationships/slideLayout" Target="../slideLayouts/slideLayout29.xml"/><Relationship Id="rId16" Type="http://schemas.openxmlformats.org/officeDocument/2006/relationships/theme" Target="../theme/theme2.xml"/><Relationship Id="rId1" Type="http://schemas.openxmlformats.org/officeDocument/2006/relationships/slideLayout" Target="../slideLayouts/slideLayout28.xml"/><Relationship Id="rId6" Type="http://schemas.openxmlformats.org/officeDocument/2006/relationships/slideLayout" Target="../slideLayouts/slideLayout33.xml"/><Relationship Id="rId11" Type="http://schemas.openxmlformats.org/officeDocument/2006/relationships/slideLayout" Target="../slideLayouts/slideLayout38.xml"/><Relationship Id="rId5" Type="http://schemas.openxmlformats.org/officeDocument/2006/relationships/slideLayout" Target="../slideLayouts/slideLayout32.xml"/><Relationship Id="rId15" Type="http://schemas.openxmlformats.org/officeDocument/2006/relationships/slideLayout" Target="../slideLayouts/slideLayout42.xml"/><Relationship Id="rId10" Type="http://schemas.openxmlformats.org/officeDocument/2006/relationships/slideLayout" Target="../slideLayouts/slideLayout37.xml"/><Relationship Id="rId4" Type="http://schemas.openxmlformats.org/officeDocument/2006/relationships/slideLayout" Target="../slideLayouts/slideLayout31.xml"/><Relationship Id="rId9" Type="http://schemas.openxmlformats.org/officeDocument/2006/relationships/slideLayout" Target="../slideLayouts/slideLayout36.xml"/><Relationship Id="rId14" Type="http://schemas.openxmlformats.org/officeDocument/2006/relationships/slideLayout" Target="../slideLayouts/slideLayout4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BD47C18A-5535-40B4-91CA-08CAA4A66877}"/>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ID"/>
          </a:p>
        </p:txBody>
      </p:sp>
      <p:sp>
        <p:nvSpPr>
          <p:cNvPr id="3" name="Text Placeholder 2">
            <a:extLst>
              <a:ext uri="{FF2B5EF4-FFF2-40B4-BE49-F238E27FC236}">
                <a16:creationId xmlns:a16="http://schemas.microsoft.com/office/drawing/2014/main" id="{6E9AAD8E-5746-4736-9927-C52DFE1BB331}"/>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D"/>
          </a:p>
        </p:txBody>
      </p:sp>
      <p:sp>
        <p:nvSpPr>
          <p:cNvPr id="4" name="Date Placeholder 3">
            <a:extLst>
              <a:ext uri="{FF2B5EF4-FFF2-40B4-BE49-F238E27FC236}">
                <a16:creationId xmlns:a16="http://schemas.microsoft.com/office/drawing/2014/main" id="{3D7B225D-E002-4AAC-9F25-1A692BD548C5}"/>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340789DD-A259-46E6-84EB-6B5EA4A15022}" type="datetimeFigureOut">
              <a:rPr lang="en-ID" smtClean="0"/>
              <a:t>03/10/2024</a:t>
            </a:fld>
            <a:endParaRPr lang="en-ID"/>
          </a:p>
        </p:txBody>
      </p:sp>
      <p:sp>
        <p:nvSpPr>
          <p:cNvPr id="5" name="Footer Placeholder 4">
            <a:extLst>
              <a:ext uri="{FF2B5EF4-FFF2-40B4-BE49-F238E27FC236}">
                <a16:creationId xmlns:a16="http://schemas.microsoft.com/office/drawing/2014/main" id="{9CB9B4AF-FFB5-46CC-BE3B-B5AC2D18D07F}"/>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ID"/>
          </a:p>
        </p:txBody>
      </p:sp>
      <p:sp>
        <p:nvSpPr>
          <p:cNvPr id="6" name="Slide Number Placeholder 5">
            <a:extLst>
              <a:ext uri="{FF2B5EF4-FFF2-40B4-BE49-F238E27FC236}">
                <a16:creationId xmlns:a16="http://schemas.microsoft.com/office/drawing/2014/main" id="{274F4AAB-B777-431A-94FD-C964F9100E21}"/>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504113E6-0B08-4FB0-86C1-8D84B95E56B7}" type="slidenum">
              <a:rPr lang="en-ID" smtClean="0"/>
              <a:t>‹#›</a:t>
            </a:fld>
            <a:endParaRPr lang="en-ID"/>
          </a:p>
        </p:txBody>
      </p:sp>
    </p:spTree>
    <p:extLst>
      <p:ext uri="{BB962C8B-B14F-4D97-AF65-F5344CB8AC3E}">
        <p14:creationId xmlns:p14="http://schemas.microsoft.com/office/powerpoint/2010/main" val="2565050071"/>
      </p:ext>
    </p:extLst>
  </p:cSld>
  <p:clrMap bg1="lt1" tx1="dk1" bg2="lt2" tx2="dk2" accent1="accent1" accent2="accent2" accent3="accent3" accent4="accent4" accent5="accent5" accent6="accent6" hlink="hlink" folHlink="folHlink"/>
  <p:sldLayoutIdLst>
    <p:sldLayoutId id="2147483649" r:id="rId1"/>
    <p:sldLayoutId id="2147483671" r:id="rId2"/>
    <p:sldLayoutId id="2147483670" r:id="rId3"/>
    <p:sldLayoutId id="2147483669" r:id="rId4"/>
    <p:sldLayoutId id="2147483668" r:id="rId5"/>
    <p:sldLayoutId id="2147483667" r:id="rId6"/>
    <p:sldLayoutId id="2147483666" r:id="rId7"/>
    <p:sldLayoutId id="2147483665" r:id="rId8"/>
    <p:sldLayoutId id="2147483664" r:id="rId9"/>
    <p:sldLayoutId id="2147483663" r:id="rId10"/>
    <p:sldLayoutId id="2147483662" r:id="rId11"/>
    <p:sldLayoutId id="2147483660" r:id="rId12"/>
    <p:sldLayoutId id="2147483661" r:id="rId13"/>
    <p:sldLayoutId id="2147483659" r:id="rId14"/>
    <p:sldLayoutId id="2147483657" r:id="rId15"/>
    <p:sldLayoutId id="2147483658" r:id="rId16"/>
    <p:sldLayoutId id="2147483656" r:id="rId17"/>
    <p:sldLayoutId id="2147483655" r:id="rId18"/>
    <p:sldLayoutId id="2147483654" r:id="rId19"/>
    <p:sldLayoutId id="2147483653" r:id="rId20"/>
    <p:sldLayoutId id="2147483652" r:id="rId21"/>
    <p:sldLayoutId id="2147483651" r:id="rId22"/>
    <p:sldLayoutId id="2147483650" r:id="rId23"/>
    <p:sldLayoutId id="2147483672" r:id="rId24"/>
    <p:sldLayoutId id="2147483674" r:id="rId25"/>
    <p:sldLayoutId id="2147483677" r:id="rId26"/>
    <p:sldLayoutId id="2147483692" r:id="rId27"/>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3">
        <a:schemeClr val="bg2"/>
      </p:bgRef>
    </p:bg>
    <p:spTree>
      <p:nvGrpSpPr>
        <p:cNvPr id="1" name=""/>
        <p:cNvGrpSpPr/>
        <p:nvPr/>
      </p:nvGrpSpPr>
      <p:grpSpPr>
        <a:xfrm>
          <a:off x="0" y="0"/>
          <a:ext cx="0" cy="0"/>
          <a:chOff x="0" y="0"/>
          <a:chExt cx="0" cy="0"/>
        </a:xfrm>
      </p:grpSpPr>
      <p:sp>
        <p:nvSpPr>
          <p:cNvPr id="22" name="Title Placeholder 21"/>
          <p:cNvSpPr>
            <a:spLocks noGrp="1"/>
          </p:cNvSpPr>
          <p:nvPr>
            <p:ph type="title"/>
          </p:nvPr>
        </p:nvSpPr>
        <p:spPr>
          <a:xfrm>
            <a:off x="609600" y="274638"/>
            <a:ext cx="10972800" cy="1143000"/>
          </a:xfrm>
          <a:prstGeom prst="rect">
            <a:avLst/>
          </a:prstGeom>
        </p:spPr>
        <p:txBody>
          <a:bodyPr vert="horz" anchor="ctr">
            <a:normAutofit/>
            <a:scene3d>
              <a:camera prst="orthographicFront"/>
              <a:lightRig rig="soft" dir="t">
                <a:rot lat="0" lon="0" rev="16800000"/>
              </a:lightRig>
            </a:scene3d>
            <a:sp3d prstMaterial="softEdge">
              <a:bevelT w="38100" h="38100"/>
            </a:sp3d>
          </a:bodyPr>
          <a:lstStyle/>
          <a:p>
            <a:r>
              <a:rPr kumimoji="0" lang="en-US"/>
              <a:t>Click to edit Master title style</a:t>
            </a:r>
          </a:p>
        </p:txBody>
      </p:sp>
      <p:sp>
        <p:nvSpPr>
          <p:cNvPr id="13" name="Text Placeholder 12"/>
          <p:cNvSpPr>
            <a:spLocks noGrp="1"/>
          </p:cNvSpPr>
          <p:nvPr>
            <p:ph type="body" idx="1"/>
          </p:nvPr>
        </p:nvSpPr>
        <p:spPr>
          <a:xfrm>
            <a:off x="609600" y="1600200"/>
            <a:ext cx="10972800" cy="4709160"/>
          </a:xfrm>
          <a:prstGeom prst="rect">
            <a:avLst/>
          </a:prstGeom>
        </p:spPr>
        <p:txBody>
          <a:bodyPr vert="horz">
            <a:normAutofit/>
          </a:bodyPr>
          <a:lstStyle/>
          <a:p>
            <a:pPr lvl="0" eaLnBrk="1" latinLnBrk="0" hangingPunct="1"/>
            <a:r>
              <a:rPr kumimoji="0" lang="en-US"/>
              <a:t>Click to edit Master text styles</a:t>
            </a:r>
          </a:p>
          <a:p>
            <a:pPr lvl="1" eaLnBrk="1" latinLnBrk="0" hangingPunct="1"/>
            <a:r>
              <a:rPr kumimoji="0" lang="en-US"/>
              <a:t>Second level</a:t>
            </a:r>
          </a:p>
          <a:p>
            <a:pPr lvl="2" eaLnBrk="1" latinLnBrk="0" hangingPunct="1"/>
            <a:r>
              <a:rPr kumimoji="0" lang="en-US"/>
              <a:t>Third level</a:t>
            </a:r>
          </a:p>
          <a:p>
            <a:pPr lvl="3" eaLnBrk="1" latinLnBrk="0" hangingPunct="1"/>
            <a:r>
              <a:rPr kumimoji="0" lang="en-US"/>
              <a:t>Fourth level</a:t>
            </a:r>
          </a:p>
          <a:p>
            <a:pPr lvl="4" eaLnBrk="1" latinLnBrk="0" hangingPunct="1"/>
            <a:r>
              <a:rPr kumimoji="0" lang="en-US"/>
              <a:t>Fifth level</a:t>
            </a:r>
          </a:p>
        </p:txBody>
      </p:sp>
      <p:sp>
        <p:nvSpPr>
          <p:cNvPr id="14" name="Date Placeholder 13"/>
          <p:cNvSpPr>
            <a:spLocks noGrp="1"/>
          </p:cNvSpPr>
          <p:nvPr>
            <p:ph type="dt" sz="half" idx="2"/>
          </p:nvPr>
        </p:nvSpPr>
        <p:spPr>
          <a:xfrm>
            <a:off x="609600" y="6416676"/>
            <a:ext cx="2844800" cy="365125"/>
          </a:xfrm>
          <a:prstGeom prst="rect">
            <a:avLst/>
          </a:prstGeom>
        </p:spPr>
        <p:txBody>
          <a:bodyPr vert="horz" anchor="b"/>
          <a:lstStyle>
            <a:lvl1pPr algn="l" eaLnBrk="1" latinLnBrk="0" hangingPunct="1">
              <a:defRPr kumimoji="0" sz="1200">
                <a:solidFill>
                  <a:schemeClr val="tx1">
                    <a:shade val="50000"/>
                  </a:schemeClr>
                </a:solidFill>
              </a:defRPr>
            </a:lvl1pPr>
          </a:lstStyle>
          <a:p>
            <a:fld id="{340789DD-A259-46E6-84EB-6B5EA4A15022}" type="datetimeFigureOut">
              <a:rPr lang="en-ID" smtClean="0"/>
              <a:t>03/10/2024</a:t>
            </a:fld>
            <a:endParaRPr lang="en-ID"/>
          </a:p>
        </p:txBody>
      </p:sp>
      <p:sp>
        <p:nvSpPr>
          <p:cNvPr id="3" name="Footer Placeholder 2"/>
          <p:cNvSpPr>
            <a:spLocks noGrp="1"/>
          </p:cNvSpPr>
          <p:nvPr>
            <p:ph type="ftr" sz="quarter" idx="3"/>
          </p:nvPr>
        </p:nvSpPr>
        <p:spPr>
          <a:xfrm>
            <a:off x="4165600" y="6416676"/>
            <a:ext cx="3860800" cy="365125"/>
          </a:xfrm>
          <a:prstGeom prst="rect">
            <a:avLst/>
          </a:prstGeom>
        </p:spPr>
        <p:txBody>
          <a:bodyPr vert="horz" anchor="b"/>
          <a:lstStyle>
            <a:lvl1pPr algn="ctr" eaLnBrk="1" latinLnBrk="0" hangingPunct="1">
              <a:defRPr kumimoji="0" sz="1200">
                <a:solidFill>
                  <a:schemeClr val="tx1">
                    <a:shade val="50000"/>
                  </a:schemeClr>
                </a:solidFill>
              </a:defRPr>
            </a:lvl1pPr>
          </a:lstStyle>
          <a:p>
            <a:endParaRPr lang="en-ID"/>
          </a:p>
        </p:txBody>
      </p:sp>
      <p:sp>
        <p:nvSpPr>
          <p:cNvPr id="23" name="Slide Number Placeholder 22"/>
          <p:cNvSpPr>
            <a:spLocks noGrp="1"/>
          </p:cNvSpPr>
          <p:nvPr>
            <p:ph type="sldNum" sz="quarter" idx="4"/>
          </p:nvPr>
        </p:nvSpPr>
        <p:spPr>
          <a:xfrm>
            <a:off x="10566400" y="6416676"/>
            <a:ext cx="1016000" cy="365125"/>
          </a:xfrm>
          <a:prstGeom prst="rect">
            <a:avLst/>
          </a:prstGeom>
        </p:spPr>
        <p:txBody>
          <a:bodyPr vert="horz" lIns="0" rIns="0" anchor="b"/>
          <a:lstStyle>
            <a:lvl1pPr algn="r" eaLnBrk="1" latinLnBrk="0" hangingPunct="1">
              <a:defRPr kumimoji="0" sz="1200">
                <a:solidFill>
                  <a:schemeClr val="tx1">
                    <a:shade val="50000"/>
                  </a:schemeClr>
                </a:solidFill>
              </a:defRPr>
            </a:lvl1pPr>
          </a:lstStyle>
          <a:p>
            <a:fld id="{504113E6-0B08-4FB0-86C1-8D84B95E56B7}" type="slidenum">
              <a:rPr lang="en-ID" smtClean="0"/>
              <a:t>‹#›</a:t>
            </a:fld>
            <a:endParaRPr lang="en-ID"/>
          </a:p>
        </p:txBody>
      </p:sp>
    </p:spTree>
  </p:cSld>
  <p:clrMap bg1="dk1" tx1="lt1" bg2="dk2" tx2="lt2" accent1="accent1" accent2="accent2" accent3="accent3" accent4="accent4" accent5="accent5" accent6="accent6" hlink="hlink" folHlink="folHlink"/>
  <p:sldLayoutIdLst>
    <p:sldLayoutId id="2147483723" r:id="rId1"/>
    <p:sldLayoutId id="2147483724" r:id="rId2"/>
    <p:sldLayoutId id="2147483725" r:id="rId3"/>
    <p:sldLayoutId id="2147483726" r:id="rId4"/>
    <p:sldLayoutId id="2147483727" r:id="rId5"/>
    <p:sldLayoutId id="2147483728" r:id="rId6"/>
    <p:sldLayoutId id="2147483729" r:id="rId7"/>
    <p:sldLayoutId id="2147483730" r:id="rId8"/>
    <p:sldLayoutId id="2147483731" r:id="rId9"/>
    <p:sldLayoutId id="2147483732" r:id="rId10"/>
    <p:sldLayoutId id="2147483733" r:id="rId11"/>
    <p:sldLayoutId id="2147483706" r:id="rId12"/>
    <p:sldLayoutId id="2147483707" r:id="rId13"/>
    <p:sldLayoutId id="2147483708" r:id="rId14"/>
    <p:sldLayoutId id="2147483709" r:id="rId15"/>
  </p:sldLayoutIdLst>
  <p:txStyles>
    <p:titleStyle>
      <a:lvl1pPr algn="ctr" rtl="0" eaLnBrk="1" latinLnBrk="0" hangingPunct="1">
        <a:spcBef>
          <a:spcPct val="0"/>
        </a:spcBef>
        <a:buNone/>
        <a:defRPr kumimoji="0" sz="4100" b="1" kern="1200" cap="none" baseline="0">
          <a:ln w="6350">
            <a:noFill/>
          </a:ln>
          <a:gradFill>
            <a:gsLst>
              <a:gs pos="0">
                <a:schemeClr val="accent1">
                  <a:tint val="73000"/>
                  <a:satMod val="145000"/>
                </a:schemeClr>
              </a:gs>
              <a:gs pos="73000">
                <a:schemeClr val="accent1">
                  <a:tint val="73000"/>
                  <a:satMod val="145000"/>
                </a:schemeClr>
              </a:gs>
              <a:gs pos="100000">
                <a:schemeClr val="accent1">
                  <a:tint val="83000"/>
                  <a:satMod val="143000"/>
                </a:schemeClr>
              </a:gs>
            </a:gsLst>
            <a:lin ang="4800000" scaled="1"/>
          </a:gradFill>
          <a:effectLst>
            <a:outerShdw blurRad="114300" dist="101600" dir="2700000" algn="tl" rotWithShape="0">
              <a:srgbClr val="000000">
                <a:alpha val="40000"/>
              </a:srgbClr>
            </a:outerShdw>
          </a:effectLst>
          <a:latin typeface="+mj-lt"/>
          <a:ea typeface="+mj-ea"/>
          <a:cs typeface="+mj-cs"/>
        </a:defRPr>
      </a:lvl1pPr>
    </p:titleStyle>
    <p:bodyStyle>
      <a:lvl1pPr marL="548640" indent="-411480" algn="l" rtl="0" eaLnBrk="1" latinLnBrk="0" hangingPunct="1">
        <a:spcBef>
          <a:spcPct val="20000"/>
        </a:spcBef>
        <a:buClr>
          <a:schemeClr val="tx1">
            <a:shade val="95000"/>
          </a:schemeClr>
        </a:buClr>
        <a:buSzPct val="65000"/>
        <a:buFont typeface="Wingdings 2"/>
        <a:buChar char=""/>
        <a:defRPr kumimoji="0" sz="2800" kern="1200">
          <a:solidFill>
            <a:schemeClr val="tx1"/>
          </a:solidFill>
          <a:latin typeface="+mn-lt"/>
          <a:ea typeface="+mn-ea"/>
          <a:cs typeface="+mn-cs"/>
        </a:defRPr>
      </a:lvl1pPr>
      <a:lvl2pPr marL="868680" indent="-283464" algn="l" rtl="0" eaLnBrk="1" latinLnBrk="0" hangingPunct="1">
        <a:spcBef>
          <a:spcPct val="20000"/>
        </a:spcBef>
        <a:buClr>
          <a:schemeClr val="tx1"/>
        </a:buClr>
        <a:buSzPct val="80000"/>
        <a:buFont typeface="Wingdings 2"/>
        <a:buChar char=""/>
        <a:defRPr kumimoji="0" sz="2400" kern="1200">
          <a:solidFill>
            <a:schemeClr val="tx1"/>
          </a:solidFill>
          <a:latin typeface="+mn-lt"/>
          <a:ea typeface="+mn-ea"/>
          <a:cs typeface="+mn-cs"/>
        </a:defRPr>
      </a:lvl2pPr>
      <a:lvl3pPr marL="1133856" indent="-228600" algn="l" rtl="0" eaLnBrk="1" latinLnBrk="0" hangingPunct="1">
        <a:spcBef>
          <a:spcPct val="20000"/>
        </a:spcBef>
        <a:buClr>
          <a:schemeClr val="tx1"/>
        </a:buClr>
        <a:buSzPct val="95000"/>
        <a:buFont typeface="Wingdings"/>
        <a:buChar char=""/>
        <a:defRPr kumimoji="0" sz="2200" kern="1200">
          <a:solidFill>
            <a:schemeClr val="tx1"/>
          </a:solidFill>
          <a:latin typeface="+mn-lt"/>
          <a:ea typeface="+mn-ea"/>
          <a:cs typeface="+mn-cs"/>
        </a:defRPr>
      </a:lvl3pPr>
      <a:lvl4pPr marL="1353312" indent="-182880" algn="l" rtl="0" eaLnBrk="1" latinLnBrk="0" hangingPunct="1">
        <a:spcBef>
          <a:spcPct val="20000"/>
        </a:spcBef>
        <a:buClr>
          <a:schemeClr val="tx1"/>
        </a:buClr>
        <a:buSzPct val="100000"/>
        <a:buFont typeface="Wingdings 3"/>
        <a:buChar char=""/>
        <a:defRPr kumimoji="0" sz="2000" kern="1200">
          <a:solidFill>
            <a:schemeClr val="tx1"/>
          </a:solidFill>
          <a:latin typeface="+mn-lt"/>
          <a:ea typeface="+mn-ea"/>
          <a:cs typeface="+mn-cs"/>
        </a:defRPr>
      </a:lvl4pPr>
      <a:lvl5pPr marL="1545336" indent="-182880" algn="l" rtl="0" eaLnBrk="1" latinLnBrk="0" hangingPunct="1">
        <a:spcBef>
          <a:spcPct val="20000"/>
        </a:spcBef>
        <a:buClr>
          <a:schemeClr val="tx1"/>
        </a:buClr>
        <a:buFont typeface="Wingdings 2"/>
        <a:buChar char=""/>
        <a:defRPr kumimoji="0" sz="2000" kern="1200">
          <a:solidFill>
            <a:schemeClr val="tx1"/>
          </a:solidFill>
          <a:latin typeface="+mn-lt"/>
          <a:ea typeface="+mn-ea"/>
          <a:cs typeface="+mn-cs"/>
        </a:defRPr>
      </a:lvl5pPr>
      <a:lvl6pPr marL="1764792" indent="-182880" algn="l" rtl="0" eaLnBrk="1" latinLnBrk="0" hangingPunct="1">
        <a:spcBef>
          <a:spcPct val="20000"/>
        </a:spcBef>
        <a:buClr>
          <a:schemeClr val="tx1"/>
        </a:buClr>
        <a:buFont typeface="Wingdings 3"/>
        <a:buChar char=""/>
        <a:defRPr kumimoji="0" sz="1800" kern="1200">
          <a:solidFill>
            <a:schemeClr val="tx1"/>
          </a:solidFill>
          <a:latin typeface="+mn-lt"/>
          <a:ea typeface="+mn-ea"/>
          <a:cs typeface="+mn-cs"/>
        </a:defRPr>
      </a:lvl6pPr>
      <a:lvl7pPr marL="1965960" indent="-182880" algn="l" rtl="0" eaLnBrk="1" latinLnBrk="0" hangingPunct="1">
        <a:spcBef>
          <a:spcPct val="20000"/>
        </a:spcBef>
        <a:buClr>
          <a:schemeClr val="tx1"/>
        </a:buClr>
        <a:buFont typeface="Wingdings 2"/>
        <a:buChar char=""/>
        <a:defRPr kumimoji="0" sz="1600" kern="1200">
          <a:solidFill>
            <a:schemeClr val="tx1"/>
          </a:solidFill>
          <a:latin typeface="+mn-lt"/>
          <a:ea typeface="+mn-ea"/>
          <a:cs typeface="+mn-cs"/>
        </a:defRPr>
      </a:lvl7pPr>
      <a:lvl8pPr marL="2167128" indent="-182880" algn="l" rtl="0" eaLnBrk="1" latinLnBrk="0" hangingPunct="1">
        <a:spcBef>
          <a:spcPct val="20000"/>
        </a:spcBef>
        <a:buClr>
          <a:schemeClr val="tx1"/>
        </a:buClr>
        <a:buFont typeface="Wingdings 2"/>
        <a:buChar char=""/>
        <a:defRPr kumimoji="0" sz="1400" kern="1200">
          <a:solidFill>
            <a:schemeClr val="tx1"/>
          </a:solidFill>
          <a:latin typeface="+mn-lt"/>
          <a:ea typeface="+mn-ea"/>
          <a:cs typeface="+mn-cs"/>
        </a:defRPr>
      </a:lvl8pPr>
      <a:lvl9pPr marL="2368296" indent="-182880" algn="l" rtl="0" eaLnBrk="1" latinLnBrk="0" hangingPunct="1">
        <a:spcBef>
          <a:spcPct val="20000"/>
        </a:spcBef>
        <a:buClr>
          <a:schemeClr val="tx1"/>
        </a:buClr>
        <a:buFont typeface="Wingdings 2"/>
        <a:buChar char=""/>
        <a:defRPr kumimoji="0" sz="1400" kern="1200" baseline="0">
          <a:solidFill>
            <a:schemeClr val="tx1"/>
          </a:solidFill>
          <a:latin typeface="+mn-lt"/>
          <a:ea typeface="+mn-ea"/>
          <a:cs typeface="+mn-cs"/>
        </a:defRPr>
      </a:lvl9pPr>
    </p:bodyStyle>
    <p:otherStyle>
      <a:lvl1pPr marL="0" algn="l" rtl="0" eaLnBrk="1" latinLnBrk="0" hangingPunct="1">
        <a:defRPr kumimoji="0" kern="1200">
          <a:solidFill>
            <a:schemeClr val="tx1"/>
          </a:solidFill>
          <a:latin typeface="+mn-lt"/>
          <a:ea typeface="+mn-ea"/>
          <a:cs typeface="+mn-cs"/>
        </a:defRPr>
      </a:lvl1pPr>
      <a:lvl2pPr marL="457200" algn="l" rtl="0" eaLnBrk="1" latinLnBrk="0" hangingPunct="1">
        <a:defRPr kumimoji="0" kern="1200">
          <a:solidFill>
            <a:schemeClr val="tx1"/>
          </a:solidFill>
          <a:latin typeface="+mn-lt"/>
          <a:ea typeface="+mn-ea"/>
          <a:cs typeface="+mn-cs"/>
        </a:defRPr>
      </a:lvl2pPr>
      <a:lvl3pPr marL="914400" algn="l" rtl="0" eaLnBrk="1" latinLnBrk="0" hangingPunct="1">
        <a:defRPr kumimoji="0" kern="1200">
          <a:solidFill>
            <a:schemeClr val="tx1"/>
          </a:solidFill>
          <a:latin typeface="+mn-lt"/>
          <a:ea typeface="+mn-ea"/>
          <a:cs typeface="+mn-cs"/>
        </a:defRPr>
      </a:lvl3pPr>
      <a:lvl4pPr marL="1371600" algn="l" rtl="0" eaLnBrk="1" latinLnBrk="0" hangingPunct="1">
        <a:defRPr kumimoji="0" kern="1200">
          <a:solidFill>
            <a:schemeClr val="tx1"/>
          </a:solidFill>
          <a:latin typeface="+mn-lt"/>
          <a:ea typeface="+mn-ea"/>
          <a:cs typeface="+mn-cs"/>
        </a:defRPr>
      </a:lvl4pPr>
      <a:lvl5pPr marL="1828800" algn="l" rtl="0" eaLnBrk="1" latinLnBrk="0" hangingPunct="1">
        <a:defRPr kumimoji="0" kern="1200">
          <a:solidFill>
            <a:schemeClr val="tx1"/>
          </a:solidFill>
          <a:latin typeface="+mn-lt"/>
          <a:ea typeface="+mn-ea"/>
          <a:cs typeface="+mn-cs"/>
        </a:defRPr>
      </a:lvl5pPr>
      <a:lvl6pPr marL="2286000" algn="l" rtl="0" eaLnBrk="1" latinLnBrk="0" hangingPunct="1">
        <a:defRPr kumimoji="0" kern="1200">
          <a:solidFill>
            <a:schemeClr val="tx1"/>
          </a:solidFill>
          <a:latin typeface="+mn-lt"/>
          <a:ea typeface="+mn-ea"/>
          <a:cs typeface="+mn-cs"/>
        </a:defRPr>
      </a:lvl6pPr>
      <a:lvl7pPr marL="2743200" algn="l" rtl="0" eaLnBrk="1" latinLnBrk="0" hangingPunct="1">
        <a:defRPr kumimoji="0" kern="1200">
          <a:solidFill>
            <a:schemeClr val="tx1"/>
          </a:solidFill>
          <a:latin typeface="+mn-lt"/>
          <a:ea typeface="+mn-ea"/>
          <a:cs typeface="+mn-cs"/>
        </a:defRPr>
      </a:lvl7pPr>
      <a:lvl8pPr marL="3200400" algn="l" rtl="0" eaLnBrk="1" latinLnBrk="0" hangingPunct="1">
        <a:defRPr kumimoji="0" kern="1200">
          <a:solidFill>
            <a:schemeClr val="tx1"/>
          </a:solidFill>
          <a:latin typeface="+mn-lt"/>
          <a:ea typeface="+mn-ea"/>
          <a:cs typeface="+mn-cs"/>
        </a:defRPr>
      </a:lvl8pPr>
      <a:lvl9pPr marL="3657600" algn="l" rtl="0" eaLnBrk="1" latinLnBrk="0" hangingPunct="1">
        <a:defRPr kumimoji="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Layout" Target="../slideLayouts/slideLayout18.xml"/><Relationship Id="rId4" Type="http://schemas.openxmlformats.org/officeDocument/2006/relationships/image" Target="../media/image8.emf"/></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17.xml.rels><?xml version="1.0" encoding="UTF-8" standalone="yes"?>
<Relationships xmlns="http://schemas.openxmlformats.org/package/2006/relationships"><Relationship Id="rId3" Type="http://schemas.microsoft.com/office/2007/relationships/hdphoto" Target="../media/hdphoto1.wdp"/><Relationship Id="rId7" Type="http://schemas.openxmlformats.org/officeDocument/2006/relationships/image" Target="../media/image8.emf"/><Relationship Id="rId2" Type="http://schemas.openxmlformats.org/officeDocument/2006/relationships/image" Target="../media/image18.png"/><Relationship Id="rId1" Type="http://schemas.openxmlformats.org/officeDocument/2006/relationships/slideLayout" Target="../slideLayouts/slideLayout26.xml"/><Relationship Id="rId6" Type="http://schemas.openxmlformats.org/officeDocument/2006/relationships/image" Target="../media/image7.svg"/><Relationship Id="rId5" Type="http://schemas.openxmlformats.org/officeDocument/2006/relationships/image" Target="../media/image6.png"/><Relationship Id="rId4" Type="http://schemas.openxmlformats.org/officeDocument/2006/relationships/image" Target="../media/image19.png"/></Relationships>
</file>

<file path=ppt/slides/_rels/slide18.xml.rels><?xml version="1.0" encoding="UTF-8" standalone="yes"?>
<Relationships xmlns="http://schemas.openxmlformats.org/package/2006/relationships"><Relationship Id="rId8" Type="http://schemas.openxmlformats.org/officeDocument/2006/relationships/image" Target="../media/image22.jpeg"/><Relationship Id="rId3" Type="http://schemas.openxmlformats.org/officeDocument/2006/relationships/image" Target="../media/image21.svg"/><Relationship Id="rId7" Type="http://schemas.openxmlformats.org/officeDocument/2006/relationships/image" Target="../media/image8.emf"/><Relationship Id="rId2" Type="http://schemas.openxmlformats.org/officeDocument/2006/relationships/image" Target="../media/image20.png"/><Relationship Id="rId1" Type="http://schemas.openxmlformats.org/officeDocument/2006/relationships/slideLayout" Target="../slideLayouts/slideLayout25.xml"/><Relationship Id="rId6" Type="http://schemas.openxmlformats.org/officeDocument/2006/relationships/image" Target="../media/image7.svg"/><Relationship Id="rId5" Type="http://schemas.openxmlformats.org/officeDocument/2006/relationships/image" Target="../media/image6.png"/><Relationship Id="rId4" Type="http://schemas.openxmlformats.org/officeDocument/2006/relationships/image" Target="../media/image13.png"/></Relationships>
</file>

<file path=ppt/slides/_rels/slide2.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Layout" Target="../slideLayouts/slideLayout29.xml"/></Relationships>
</file>

<file path=ppt/slides/_rels/slide3.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image" Target="../media/image10.jpg"/><Relationship Id="rId7" Type="http://schemas.openxmlformats.org/officeDocument/2006/relationships/image" Target="../media/image8.emf"/><Relationship Id="rId2" Type="http://schemas.openxmlformats.org/officeDocument/2006/relationships/notesSlide" Target="../notesSlides/notesSlide1.xml"/><Relationship Id="rId1" Type="http://schemas.openxmlformats.org/officeDocument/2006/relationships/slideLayout" Target="../slideLayouts/slideLayout6.xml"/><Relationship Id="rId6" Type="http://schemas.openxmlformats.org/officeDocument/2006/relationships/image" Target="../media/image7.svg"/><Relationship Id="rId5" Type="http://schemas.openxmlformats.org/officeDocument/2006/relationships/image" Target="../media/image6.png"/><Relationship Id="rId4" Type="http://schemas.openxmlformats.org/officeDocument/2006/relationships/image" Target="../media/image11.png"/></Relationships>
</file>

<file path=ppt/slides/_rels/slide4.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notesSlide" Target="../notesSlides/notesSlide2.xml"/><Relationship Id="rId1" Type="http://schemas.openxmlformats.org/officeDocument/2006/relationships/slideLayout" Target="../slideLayouts/slideLayout23.xml"/></Relationships>
</file>

<file path=ppt/slides/_rels/slide5.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image" Target="../media/image13.png"/><Relationship Id="rId1" Type="http://schemas.openxmlformats.org/officeDocument/2006/relationships/slideLayout" Target="../slideLayouts/slideLayout12.xml"/></Relationships>
</file>

<file path=ppt/slides/_rels/slide6.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image" Target="../media/image13.png"/><Relationship Id="rId1" Type="http://schemas.openxmlformats.org/officeDocument/2006/relationships/slideLayout" Target="../slideLayouts/slideLayout12.xml"/></Relationships>
</file>

<file path=ppt/slides/_rels/slide7.xml.rels><?xml version="1.0" encoding="UTF-8" standalone="yes"?>
<Relationships xmlns="http://schemas.openxmlformats.org/package/2006/relationships"><Relationship Id="rId8" Type="http://schemas.openxmlformats.org/officeDocument/2006/relationships/image" Target="../media/image17.jpeg"/><Relationship Id="rId3" Type="http://schemas.openxmlformats.org/officeDocument/2006/relationships/image" Target="../media/image7.svg"/><Relationship Id="rId7" Type="http://schemas.openxmlformats.org/officeDocument/2006/relationships/image" Target="../media/image16.jpeg"/><Relationship Id="rId2" Type="http://schemas.openxmlformats.org/officeDocument/2006/relationships/image" Target="../media/image6.png"/><Relationship Id="rId1" Type="http://schemas.openxmlformats.org/officeDocument/2006/relationships/slideLayout" Target="../slideLayouts/slideLayout7.xml"/><Relationship Id="rId6" Type="http://schemas.openxmlformats.org/officeDocument/2006/relationships/image" Target="../media/image15.jpeg"/><Relationship Id="rId5" Type="http://schemas.openxmlformats.org/officeDocument/2006/relationships/image" Target="../media/image14.jpeg"/><Relationship Id="rId4" Type="http://schemas.openxmlformats.org/officeDocument/2006/relationships/image" Target="../media/image8.emf"/></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slide1.xml><?xml version="1.0" encoding="utf-8"?>
<p:sld xmlns:a="http://schemas.openxmlformats.org/drawingml/2006/main" xmlns:r="http://schemas.openxmlformats.org/officeDocument/2006/relationships" xmlns:p="http://schemas.openxmlformats.org/presentationml/2006/main" showMasterSp="0">
  <p:cSld>
    <p:bg>
      <p:bgPr>
        <a:solidFill>
          <a:schemeClr val="bg2"/>
        </a:solidFill>
        <a:effectLst/>
      </p:bgPr>
    </p:bg>
    <p:spTree>
      <p:nvGrpSpPr>
        <p:cNvPr id="1" name=""/>
        <p:cNvGrpSpPr/>
        <p:nvPr/>
      </p:nvGrpSpPr>
      <p:grpSpPr>
        <a:xfrm>
          <a:off x="0" y="0"/>
          <a:ext cx="0" cy="0"/>
          <a:chOff x="0" y="0"/>
          <a:chExt cx="0" cy="0"/>
        </a:xfrm>
      </p:grpSpPr>
      <p:pic>
        <p:nvPicPr>
          <p:cNvPr id="20" name="Graphic 19">
            <a:extLst>
              <a:ext uri="{FF2B5EF4-FFF2-40B4-BE49-F238E27FC236}">
                <a16:creationId xmlns:a16="http://schemas.microsoft.com/office/drawing/2014/main" id="{709F0FE7-C89F-455F-B415-3E578649213F}"/>
              </a:ext>
            </a:extLst>
          </p:cNvPr>
          <p:cNvPicPr>
            <a:picLocks noChangeAspect="1"/>
          </p:cNvPicPr>
          <p:nvPr/>
        </p:nvPicPr>
        <p:blipFill>
          <a:blip r:embed="rId2">
            <a:extLst>
              <a:ext uri="{96DAC541-7B7A-43D3-8B79-37D633B846F1}">
                <asvg:svgBlip xmlns:asvg="http://schemas.microsoft.com/office/drawing/2016/SVG/main" r:embed="rId3"/>
              </a:ext>
            </a:extLst>
          </a:blip>
          <a:srcRect l="39159" b="10273"/>
          <a:stretch>
            <a:fillRect/>
          </a:stretch>
        </p:blipFill>
        <p:spPr>
          <a:xfrm rot="4093658">
            <a:off x="498959" y="-529622"/>
            <a:ext cx="986844" cy="2534387"/>
          </a:xfrm>
          <a:custGeom>
            <a:avLst/>
            <a:gdLst>
              <a:gd name="connsiteX0" fmla="*/ 0 w 1595303"/>
              <a:gd name="connsiteY0" fmla="*/ 1929410 h 2566593"/>
              <a:gd name="connsiteX1" fmla="*/ 770630 w 1595303"/>
              <a:gd name="connsiteY1" fmla="*/ 0 h 2566593"/>
              <a:gd name="connsiteX2" fmla="*/ 1595303 w 1595303"/>
              <a:gd name="connsiteY2" fmla="*/ 0 h 2566593"/>
              <a:gd name="connsiteX3" fmla="*/ 1595303 w 1595303"/>
              <a:gd name="connsiteY3" fmla="*/ 2566593 h 2566593"/>
            </a:gdLst>
            <a:ahLst/>
            <a:cxnLst>
              <a:cxn ang="0">
                <a:pos x="connsiteX0" y="connsiteY0"/>
              </a:cxn>
              <a:cxn ang="0">
                <a:pos x="connsiteX1" y="connsiteY1"/>
              </a:cxn>
              <a:cxn ang="0">
                <a:pos x="connsiteX2" y="connsiteY2"/>
              </a:cxn>
              <a:cxn ang="0">
                <a:pos x="connsiteX3" y="connsiteY3"/>
              </a:cxn>
            </a:cxnLst>
            <a:rect l="l" t="t" r="r" b="b"/>
            <a:pathLst>
              <a:path w="1595303" h="2566593">
                <a:moveTo>
                  <a:pt x="0" y="1929410"/>
                </a:moveTo>
                <a:lnTo>
                  <a:pt x="770630" y="0"/>
                </a:lnTo>
                <a:lnTo>
                  <a:pt x="1595303" y="0"/>
                </a:lnTo>
                <a:lnTo>
                  <a:pt x="1595303" y="2566593"/>
                </a:lnTo>
                <a:close/>
              </a:path>
            </a:pathLst>
          </a:custGeom>
          <a:effectLst>
            <a:outerShdw blurRad="406400" dist="114300" dir="6420000" sx="89000" sy="89000" algn="t" rotWithShape="0">
              <a:srgbClr val="EE9012">
                <a:alpha val="62000"/>
              </a:srgbClr>
            </a:outerShdw>
          </a:effectLst>
        </p:spPr>
      </p:pic>
      <p:sp>
        <p:nvSpPr>
          <p:cNvPr id="5" name="TextBox 4">
            <a:extLst>
              <a:ext uri="{FF2B5EF4-FFF2-40B4-BE49-F238E27FC236}">
                <a16:creationId xmlns:a16="http://schemas.microsoft.com/office/drawing/2014/main" id="{317F9BEA-F15C-456E-B8CC-0410D9129353}"/>
              </a:ext>
            </a:extLst>
          </p:cNvPr>
          <p:cNvSpPr txBox="1"/>
          <p:nvPr/>
        </p:nvSpPr>
        <p:spPr>
          <a:xfrm>
            <a:off x="108283" y="2074329"/>
            <a:ext cx="6956545" cy="3785652"/>
          </a:xfrm>
          <a:prstGeom prst="rect">
            <a:avLst/>
          </a:prstGeom>
          <a:noFill/>
        </p:spPr>
        <p:txBody>
          <a:bodyPr wrap="square" rtlCol="0">
            <a:spAutoFit/>
          </a:bodyPr>
          <a:lstStyle/>
          <a:p>
            <a:r>
              <a:rPr lang="en-GB" sz="4800" b="1" dirty="0">
                <a:latin typeface="Roboto Condensed" pitchFamily="2" charset="0"/>
                <a:ea typeface="Roboto Condensed" pitchFamily="2" charset="0"/>
                <a:cs typeface="Arial" panose="020B0604020202020204" pitchFamily="34" charset="0"/>
              </a:rPr>
              <a:t>Regional Opportunities in Zambia, Key Lessons, The Experiences of</a:t>
            </a:r>
            <a:r>
              <a:rPr lang="en-GB" sz="4800" dirty="0">
                <a:solidFill>
                  <a:srgbClr val="70AD47"/>
                </a:solidFill>
                <a:latin typeface="Roboto Condensed" pitchFamily="2" charset="0"/>
                <a:ea typeface="Roboto Condensed" pitchFamily="2" charset="0"/>
                <a:cs typeface="Arial" panose="020B0604020202020204" pitchFamily="34" charset="0"/>
              </a:rPr>
              <a:t> ZAMBIA</a:t>
            </a:r>
          </a:p>
        </p:txBody>
      </p:sp>
      <p:sp>
        <p:nvSpPr>
          <p:cNvPr id="4" name="TextBox 3">
            <a:extLst>
              <a:ext uri="{FF2B5EF4-FFF2-40B4-BE49-F238E27FC236}">
                <a16:creationId xmlns:a16="http://schemas.microsoft.com/office/drawing/2014/main" id="{13804DD3-4B2A-B704-2718-A26246DA1CFB}"/>
              </a:ext>
            </a:extLst>
          </p:cNvPr>
          <p:cNvSpPr txBox="1"/>
          <p:nvPr/>
        </p:nvSpPr>
        <p:spPr>
          <a:xfrm>
            <a:off x="108284" y="4590661"/>
            <a:ext cx="5378115" cy="2308324"/>
          </a:xfrm>
          <a:prstGeom prst="rect">
            <a:avLst/>
          </a:prstGeom>
          <a:noFill/>
        </p:spPr>
        <p:txBody>
          <a:bodyPr wrap="square" rtlCol="0">
            <a:spAutoFit/>
          </a:bodyPr>
          <a:lstStyle/>
          <a:p>
            <a:endParaRPr lang="en-GB" b="1" dirty="0">
              <a:solidFill>
                <a:schemeClr val="accent3">
                  <a:lumMod val="50000"/>
                </a:schemeClr>
              </a:solidFill>
              <a:latin typeface="Roboto Condensed" panose="02000000000000000000" pitchFamily="2" charset="0"/>
              <a:ea typeface="Roboto Condensed" panose="02000000000000000000" pitchFamily="2" charset="0"/>
              <a:cs typeface="Roboto Condensed" panose="02000000000000000000" pitchFamily="2" charset="0"/>
            </a:endParaRPr>
          </a:p>
          <a:p>
            <a:endParaRPr lang="en-GB" b="1" dirty="0">
              <a:solidFill>
                <a:schemeClr val="accent3">
                  <a:lumMod val="50000"/>
                </a:schemeClr>
              </a:solidFill>
              <a:latin typeface="Roboto Condensed" panose="02000000000000000000" pitchFamily="2" charset="0"/>
              <a:ea typeface="Roboto Condensed" panose="02000000000000000000" pitchFamily="2" charset="0"/>
              <a:cs typeface="Roboto Condensed" panose="02000000000000000000" pitchFamily="2" charset="0"/>
            </a:endParaRPr>
          </a:p>
          <a:p>
            <a:endParaRPr lang="en-GB" b="1" dirty="0">
              <a:solidFill>
                <a:schemeClr val="accent3">
                  <a:lumMod val="50000"/>
                </a:schemeClr>
              </a:solidFill>
              <a:latin typeface="Roboto Condensed" panose="02000000000000000000" pitchFamily="2" charset="0"/>
              <a:ea typeface="Roboto Condensed" panose="02000000000000000000" pitchFamily="2" charset="0"/>
              <a:cs typeface="Roboto Condensed" panose="02000000000000000000" pitchFamily="2" charset="0"/>
            </a:endParaRPr>
          </a:p>
          <a:p>
            <a:endParaRPr lang="en-GB" b="1" dirty="0">
              <a:solidFill>
                <a:schemeClr val="accent3">
                  <a:lumMod val="50000"/>
                </a:schemeClr>
              </a:solidFill>
              <a:latin typeface="Roboto Condensed" panose="02000000000000000000" pitchFamily="2" charset="0"/>
              <a:ea typeface="Roboto Condensed" panose="02000000000000000000" pitchFamily="2" charset="0"/>
              <a:cs typeface="Roboto Condensed" panose="02000000000000000000" pitchFamily="2" charset="0"/>
            </a:endParaRPr>
          </a:p>
          <a:p>
            <a:r>
              <a:rPr lang="en-GB" b="1" dirty="0">
                <a:solidFill>
                  <a:schemeClr val="accent3">
                    <a:lumMod val="50000"/>
                  </a:schemeClr>
                </a:solidFill>
                <a:latin typeface="Roboto Condensed" panose="02000000000000000000" pitchFamily="2" charset="0"/>
                <a:ea typeface="Roboto Condensed" panose="02000000000000000000" pitchFamily="2" charset="0"/>
                <a:cs typeface="Roboto Condensed" panose="02000000000000000000" pitchFamily="2" charset="0"/>
              </a:rPr>
              <a:t>Presented by Hon. </a:t>
            </a:r>
            <a:r>
              <a:rPr lang="en-GB" b="1" dirty="0" err="1">
                <a:solidFill>
                  <a:schemeClr val="accent3">
                    <a:lumMod val="50000"/>
                  </a:schemeClr>
                </a:solidFill>
                <a:latin typeface="Roboto Condensed" panose="02000000000000000000" pitchFamily="2" charset="0"/>
                <a:ea typeface="Roboto Condensed" panose="02000000000000000000" pitchFamily="2" charset="0"/>
                <a:cs typeface="Roboto Condensed" panose="02000000000000000000" pitchFamily="2" charset="0"/>
              </a:rPr>
              <a:t>Derick</a:t>
            </a:r>
            <a:r>
              <a:rPr lang="en-GB" b="1" dirty="0">
                <a:solidFill>
                  <a:schemeClr val="accent3">
                    <a:lumMod val="50000"/>
                  </a:schemeClr>
                </a:solidFill>
                <a:latin typeface="Roboto Condensed" panose="02000000000000000000" pitchFamily="2" charset="0"/>
                <a:ea typeface="Roboto Condensed" panose="02000000000000000000" pitchFamily="2" charset="0"/>
                <a:cs typeface="Roboto Condensed" panose="02000000000000000000" pitchFamily="2" charset="0"/>
              </a:rPr>
              <a:t> </a:t>
            </a:r>
            <a:r>
              <a:rPr lang="en-GB" b="1" dirty="0" err="1">
                <a:solidFill>
                  <a:schemeClr val="accent3">
                    <a:lumMod val="50000"/>
                  </a:schemeClr>
                </a:solidFill>
                <a:latin typeface="Roboto Condensed" panose="02000000000000000000" pitchFamily="2" charset="0"/>
                <a:ea typeface="Roboto Condensed" panose="02000000000000000000" pitchFamily="2" charset="0"/>
                <a:cs typeface="Roboto Condensed" panose="02000000000000000000" pitchFamily="2" charset="0"/>
              </a:rPr>
              <a:t>Livune</a:t>
            </a:r>
            <a:endParaRPr lang="en-GB" b="1" dirty="0">
              <a:solidFill>
                <a:schemeClr val="accent3">
                  <a:lumMod val="50000"/>
                </a:schemeClr>
              </a:solidFill>
              <a:latin typeface="Roboto Condensed" panose="02000000000000000000" pitchFamily="2" charset="0"/>
              <a:ea typeface="Roboto Condensed" panose="02000000000000000000" pitchFamily="2" charset="0"/>
              <a:cs typeface="Roboto Condensed" panose="02000000000000000000" pitchFamily="2" charset="0"/>
            </a:endParaRPr>
          </a:p>
          <a:p>
            <a:r>
              <a:rPr lang="en-GB" b="1" dirty="0">
                <a:solidFill>
                  <a:schemeClr val="accent3">
                    <a:lumMod val="50000"/>
                  </a:schemeClr>
                </a:solidFill>
                <a:latin typeface="Roboto Condensed" panose="02000000000000000000" pitchFamily="2" charset="0"/>
                <a:ea typeface="Roboto Condensed" panose="02000000000000000000" pitchFamily="2" charset="0"/>
                <a:cs typeface="Roboto Condensed" panose="02000000000000000000" pitchFamily="2" charset="0"/>
              </a:rPr>
              <a:t>Ambassador</a:t>
            </a:r>
          </a:p>
          <a:p>
            <a:r>
              <a:rPr lang="en-GB" b="1" dirty="0">
                <a:solidFill>
                  <a:schemeClr val="accent3">
                    <a:lumMod val="50000"/>
                  </a:schemeClr>
                </a:solidFill>
                <a:latin typeface="Roboto Condensed" panose="02000000000000000000" pitchFamily="2" charset="0"/>
                <a:ea typeface="Roboto Condensed" panose="02000000000000000000" pitchFamily="2" charset="0"/>
                <a:cs typeface="Roboto Condensed" panose="02000000000000000000" pitchFamily="2" charset="0"/>
              </a:rPr>
              <a:t>Embassy of the Republic of Zambia</a:t>
            </a:r>
          </a:p>
          <a:p>
            <a:r>
              <a:rPr lang="en-GB" b="1" dirty="0">
                <a:solidFill>
                  <a:schemeClr val="accent3">
                    <a:lumMod val="50000"/>
                  </a:schemeClr>
                </a:solidFill>
                <a:latin typeface="Roboto Condensed" panose="02000000000000000000" pitchFamily="2" charset="0"/>
                <a:ea typeface="Roboto Condensed" panose="02000000000000000000" pitchFamily="2" charset="0"/>
                <a:cs typeface="Roboto Condensed" panose="02000000000000000000" pitchFamily="2" charset="0"/>
              </a:rPr>
              <a:t>Harare</a:t>
            </a:r>
            <a:endParaRPr lang="en-GB" sz="1600" b="1" dirty="0">
              <a:solidFill>
                <a:schemeClr val="accent3">
                  <a:lumMod val="50000"/>
                </a:schemeClr>
              </a:solidFill>
              <a:latin typeface="Roboto Condensed" panose="02000000000000000000" pitchFamily="2" charset="0"/>
              <a:ea typeface="Roboto Condensed" panose="02000000000000000000" pitchFamily="2" charset="0"/>
              <a:cs typeface="Roboto Condensed" panose="02000000000000000000" pitchFamily="2" charset="0"/>
            </a:endParaRPr>
          </a:p>
        </p:txBody>
      </p:sp>
      <p:pic>
        <p:nvPicPr>
          <p:cNvPr id="8" name="Picture 7"/>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08284" y="132347"/>
            <a:ext cx="2983831" cy="1533475"/>
          </a:xfrm>
          <a:prstGeom prst="rect">
            <a:avLst/>
          </a:prstGeom>
          <a:noFill/>
          <a:ln>
            <a:noFill/>
          </a:ln>
        </p:spPr>
      </p:pic>
      <p:pic>
        <p:nvPicPr>
          <p:cNvPr id="9" name="Picture 8"/>
          <p:cNvPicPr/>
          <p:nvPr/>
        </p:nvPicPr>
        <p:blipFill>
          <a:blip r:embed="rId4">
            <a:extLst>
              <a:ext uri="{28A0092B-C50C-407E-A947-70E740481C1C}">
                <a14:useLocalDpi xmlns:a14="http://schemas.microsoft.com/office/drawing/2010/main" val="0"/>
              </a:ext>
            </a:extLst>
          </a:blip>
          <a:srcRect/>
          <a:stretch>
            <a:fillRect/>
          </a:stretch>
        </p:blipFill>
        <p:spPr bwMode="auto">
          <a:xfrm>
            <a:off x="7206916" y="737570"/>
            <a:ext cx="4535905" cy="5446661"/>
          </a:xfrm>
          <a:prstGeom prst="rect">
            <a:avLst/>
          </a:prstGeom>
          <a:noFill/>
          <a:ln>
            <a:noFill/>
          </a:ln>
        </p:spPr>
      </p:pic>
      <p:sp>
        <p:nvSpPr>
          <p:cNvPr id="2" name="Picture Placeholder 1"/>
          <p:cNvSpPr>
            <a:spLocks noGrp="1"/>
          </p:cNvSpPr>
          <p:nvPr>
            <p:ph type="pic" sz="quarter" idx="10"/>
          </p:nvPr>
        </p:nvSpPr>
        <p:spPr>
          <a:solidFill>
            <a:srgbClr val="00B050"/>
          </a:solidFill>
        </p:spPr>
        <p:txBody>
          <a:bodyPr/>
          <a:lstStyle/>
          <a:p>
            <a:endParaRPr lang="en-US"/>
          </a:p>
        </p:txBody>
      </p:sp>
    </p:spTree>
    <p:extLst>
      <p:ext uri="{BB962C8B-B14F-4D97-AF65-F5344CB8AC3E}">
        <p14:creationId xmlns:p14="http://schemas.microsoft.com/office/powerpoint/2010/main" val="135401554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8200" y="250371"/>
            <a:ext cx="10515600" cy="1012373"/>
          </a:xfrm>
          <a:solidFill>
            <a:srgbClr val="00B050"/>
          </a:solidFill>
        </p:spPr>
        <p:txBody>
          <a:bodyPr/>
          <a:lstStyle/>
          <a:p>
            <a:r>
              <a:rPr lang="en-ZW" dirty="0" err="1"/>
              <a:t>Kazungula</a:t>
            </a:r>
            <a:r>
              <a:rPr lang="en-ZW" dirty="0"/>
              <a:t> Bridge cont.</a:t>
            </a:r>
            <a:endParaRPr lang="en-US" dirty="0"/>
          </a:p>
        </p:txBody>
      </p:sp>
      <p:sp>
        <p:nvSpPr>
          <p:cNvPr id="3" name="Content Placeholder 2"/>
          <p:cNvSpPr>
            <a:spLocks noGrp="1"/>
          </p:cNvSpPr>
          <p:nvPr>
            <p:ph idx="1"/>
          </p:nvPr>
        </p:nvSpPr>
        <p:spPr/>
        <p:txBody>
          <a:bodyPr/>
          <a:lstStyle/>
          <a:p>
            <a:pPr algn="just"/>
            <a:r>
              <a:rPr lang="en-ZW" sz="3200" dirty="0" err="1"/>
              <a:t>Kazungula</a:t>
            </a:r>
            <a:r>
              <a:rPr lang="en-ZW" sz="3200" dirty="0"/>
              <a:t> Bridge Authority located in the Republic of Botswana instituted on 16</a:t>
            </a:r>
            <a:r>
              <a:rPr lang="en-ZW" sz="3200" baseline="30000" dirty="0"/>
              <a:t>th</a:t>
            </a:r>
            <a:r>
              <a:rPr lang="en-ZW" sz="3200" dirty="0"/>
              <a:t> August, 2024 established under Article 3 of the Agreement. No. 12 of 2024 is mandated to oversee the operations and functions of the bridge. </a:t>
            </a:r>
            <a:endParaRPr lang="en-US" sz="3200" dirty="0"/>
          </a:p>
          <a:p>
            <a:endParaRPr lang="en-US" dirty="0"/>
          </a:p>
        </p:txBody>
      </p:sp>
    </p:spTree>
    <p:extLst>
      <p:ext uri="{BB962C8B-B14F-4D97-AF65-F5344CB8AC3E}">
        <p14:creationId xmlns:p14="http://schemas.microsoft.com/office/powerpoint/2010/main" val="22481471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8200" y="119743"/>
            <a:ext cx="10515600" cy="653143"/>
          </a:xfrm>
          <a:solidFill>
            <a:srgbClr val="00B050"/>
          </a:solidFill>
        </p:spPr>
        <p:txBody>
          <a:bodyPr>
            <a:normAutofit fontScale="90000"/>
          </a:bodyPr>
          <a:lstStyle/>
          <a:p>
            <a:r>
              <a:rPr lang="en-US" dirty="0"/>
              <a:t>TRADE OPPORTUNITIES</a:t>
            </a:r>
          </a:p>
        </p:txBody>
      </p:sp>
      <p:sp>
        <p:nvSpPr>
          <p:cNvPr id="3" name="Content Placeholder 2"/>
          <p:cNvSpPr>
            <a:spLocks noGrp="1"/>
          </p:cNvSpPr>
          <p:nvPr>
            <p:ph idx="1"/>
          </p:nvPr>
        </p:nvSpPr>
        <p:spPr>
          <a:xfrm>
            <a:off x="108857" y="1012372"/>
            <a:ext cx="11996057" cy="5704114"/>
          </a:xfrm>
        </p:spPr>
        <p:txBody>
          <a:bodyPr>
            <a:normAutofit/>
          </a:bodyPr>
          <a:lstStyle/>
          <a:p>
            <a:r>
              <a:rPr lang="en-US" dirty="0"/>
              <a:t>In order to facilitate cross border trade and accommodate movement of people and tourists;</a:t>
            </a:r>
          </a:p>
          <a:p>
            <a:endParaRPr lang="en-US" dirty="0"/>
          </a:p>
          <a:p>
            <a:r>
              <a:rPr lang="en-US" dirty="0"/>
              <a:t>Zambia Revenue Authority proposed to extend operating hours at Victoria Falls Border Post with the Republic of Zimbabwe from 06:00 hours to 22:00 hours to 24:00 hours.</a:t>
            </a:r>
          </a:p>
          <a:p>
            <a:endParaRPr lang="en-US" dirty="0"/>
          </a:p>
          <a:p>
            <a:r>
              <a:rPr lang="en-US" dirty="0" err="1"/>
              <a:t>Chirundu</a:t>
            </a:r>
            <a:r>
              <a:rPr lang="en-US" dirty="0"/>
              <a:t> One-Stop Border Post operates 24 hours a day as the two sister countries seek to enhance intra-Africa trade. </a:t>
            </a:r>
          </a:p>
          <a:p>
            <a:endParaRPr lang="en-US" dirty="0"/>
          </a:p>
          <a:p>
            <a:r>
              <a:rPr lang="en-US" dirty="0" err="1"/>
              <a:t>Chirundu</a:t>
            </a:r>
            <a:r>
              <a:rPr lang="en-US" dirty="0"/>
              <a:t> OSBP also responds to the surge in volumes of feeder traffic from </a:t>
            </a:r>
            <a:r>
              <a:rPr lang="en-US" dirty="0" err="1"/>
              <a:t>Beitbridge</a:t>
            </a:r>
            <a:r>
              <a:rPr lang="en-US" dirty="0"/>
              <a:t> and Forbes border posts as well as traffic from the sister countries.</a:t>
            </a:r>
          </a:p>
        </p:txBody>
      </p:sp>
    </p:spTree>
    <p:extLst>
      <p:ext uri="{BB962C8B-B14F-4D97-AF65-F5344CB8AC3E}">
        <p14:creationId xmlns:p14="http://schemas.microsoft.com/office/powerpoint/2010/main" val="193542150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83029" y="76201"/>
            <a:ext cx="11669485" cy="642256"/>
          </a:xfrm>
          <a:solidFill>
            <a:srgbClr val="00B050"/>
          </a:solidFill>
        </p:spPr>
        <p:txBody>
          <a:bodyPr>
            <a:normAutofit fontScale="90000"/>
          </a:bodyPr>
          <a:lstStyle/>
          <a:p>
            <a:r>
              <a:rPr lang="en-US" dirty="0"/>
              <a:t>NAMAFULO-BINGA BORDER POST</a:t>
            </a:r>
          </a:p>
        </p:txBody>
      </p:sp>
      <p:sp>
        <p:nvSpPr>
          <p:cNvPr id="3" name="Content Placeholder 2"/>
          <p:cNvSpPr>
            <a:spLocks noGrp="1"/>
          </p:cNvSpPr>
          <p:nvPr>
            <p:ph idx="1"/>
          </p:nvPr>
        </p:nvSpPr>
        <p:spPr>
          <a:xfrm>
            <a:off x="0" y="881743"/>
            <a:ext cx="12115799" cy="5900057"/>
          </a:xfrm>
        </p:spPr>
        <p:txBody>
          <a:bodyPr>
            <a:noAutofit/>
          </a:bodyPr>
          <a:lstStyle/>
          <a:p>
            <a:pPr algn="just"/>
            <a:r>
              <a:rPr lang="en-ZW" dirty="0">
                <a:latin typeface="Times New Roman" pitchFamily="18" charset="0"/>
                <a:cs typeface="Times New Roman" pitchFamily="18" charset="0"/>
              </a:rPr>
              <a:t>The </a:t>
            </a:r>
            <a:r>
              <a:rPr lang="en-ZW" dirty="0" err="1">
                <a:latin typeface="Times New Roman" pitchFamily="18" charset="0"/>
                <a:cs typeface="Times New Roman" pitchFamily="18" charset="0"/>
              </a:rPr>
              <a:t>Namafulo-Binga</a:t>
            </a:r>
            <a:r>
              <a:rPr lang="en-ZW" dirty="0">
                <a:latin typeface="Times New Roman" pitchFamily="18" charset="0"/>
                <a:cs typeface="Times New Roman" pitchFamily="18" charset="0"/>
              </a:rPr>
              <a:t> border post was developed to ease movement for Zambians/Zimbabweans crossing to Zimbabwe/Zambia on Lake </a:t>
            </a:r>
            <a:r>
              <a:rPr lang="en-ZW" dirty="0" err="1">
                <a:latin typeface="Times New Roman" pitchFamily="18" charset="0"/>
                <a:cs typeface="Times New Roman" pitchFamily="18" charset="0"/>
              </a:rPr>
              <a:t>Kariba</a:t>
            </a:r>
            <a:r>
              <a:rPr lang="en-ZW" dirty="0">
                <a:latin typeface="Times New Roman" pitchFamily="18" charset="0"/>
                <a:cs typeface="Times New Roman" pitchFamily="18" charset="0"/>
              </a:rPr>
              <a:t> in </a:t>
            </a:r>
            <a:r>
              <a:rPr lang="en-ZW" dirty="0" err="1">
                <a:latin typeface="Times New Roman" pitchFamily="18" charset="0"/>
                <a:cs typeface="Times New Roman" pitchFamily="18" charset="0"/>
              </a:rPr>
              <a:t>Sinazongwe</a:t>
            </a:r>
            <a:r>
              <a:rPr lang="en-ZW" dirty="0">
                <a:latin typeface="Times New Roman" pitchFamily="18" charset="0"/>
                <a:cs typeface="Times New Roman" pitchFamily="18" charset="0"/>
              </a:rPr>
              <a:t> District in Southern Province and Matabeleland North Province.</a:t>
            </a:r>
          </a:p>
          <a:p>
            <a:pPr algn="just"/>
            <a:endParaRPr lang="en-US" dirty="0">
              <a:latin typeface="Times New Roman" pitchFamily="18" charset="0"/>
              <a:cs typeface="Times New Roman" pitchFamily="18" charset="0"/>
            </a:endParaRPr>
          </a:p>
          <a:p>
            <a:pPr algn="just"/>
            <a:r>
              <a:rPr lang="en-US" dirty="0">
                <a:latin typeface="Times New Roman" pitchFamily="18" charset="0"/>
                <a:cs typeface="Times New Roman" pitchFamily="18" charset="0"/>
              </a:rPr>
              <a:t>The border post eased the problem of people who were finding it difficult to obtain permits to cross to Zimbabwe/Zambia on Lake </a:t>
            </a:r>
            <a:r>
              <a:rPr lang="en-US" dirty="0" err="1">
                <a:latin typeface="Times New Roman" pitchFamily="18" charset="0"/>
                <a:cs typeface="Times New Roman" pitchFamily="18" charset="0"/>
              </a:rPr>
              <a:t>Kariba</a:t>
            </a:r>
            <a:r>
              <a:rPr lang="en-US" dirty="0">
                <a:latin typeface="Times New Roman" pitchFamily="18" charset="0"/>
                <a:cs typeface="Times New Roman" pitchFamily="18" charset="0"/>
              </a:rPr>
              <a:t>.</a:t>
            </a:r>
          </a:p>
          <a:p>
            <a:pPr algn="just"/>
            <a:endParaRPr lang="en-US" dirty="0">
              <a:latin typeface="Times New Roman" pitchFamily="18" charset="0"/>
              <a:cs typeface="Times New Roman" pitchFamily="18" charset="0"/>
            </a:endParaRPr>
          </a:p>
          <a:p>
            <a:pPr algn="just"/>
            <a:r>
              <a:rPr lang="en-US" dirty="0">
                <a:latin typeface="Times New Roman" pitchFamily="18" charset="0"/>
                <a:cs typeface="Times New Roman" pitchFamily="18" charset="0"/>
              </a:rPr>
              <a:t>The border post opened up business opportunities for people wanting to conduct cross border trade and developing surrounding towns through tourism.</a:t>
            </a:r>
          </a:p>
          <a:p>
            <a:pPr marL="0" indent="0" algn="just">
              <a:buNone/>
            </a:pPr>
            <a:endParaRPr lang="en-US" dirty="0">
              <a:latin typeface="Times New Roman" pitchFamily="18" charset="0"/>
              <a:cs typeface="Times New Roman" pitchFamily="18" charset="0"/>
            </a:endParaRPr>
          </a:p>
          <a:p>
            <a:pPr algn="just"/>
            <a:r>
              <a:rPr lang="en-ZW" dirty="0">
                <a:latin typeface="Times New Roman" pitchFamily="18" charset="0"/>
                <a:cs typeface="Times New Roman" pitchFamily="18" charset="0"/>
              </a:rPr>
              <a:t>The border post also opened trade links between </a:t>
            </a:r>
            <a:r>
              <a:rPr lang="en-ZW" dirty="0" err="1">
                <a:latin typeface="Times New Roman" pitchFamily="18" charset="0"/>
                <a:cs typeface="Times New Roman" pitchFamily="18" charset="0"/>
              </a:rPr>
              <a:t>Binga</a:t>
            </a:r>
            <a:r>
              <a:rPr lang="en-ZW" dirty="0">
                <a:latin typeface="Times New Roman" pitchFamily="18" charset="0"/>
                <a:cs typeface="Times New Roman" pitchFamily="18" charset="0"/>
              </a:rPr>
              <a:t> and </a:t>
            </a:r>
            <a:r>
              <a:rPr lang="en-ZW" dirty="0" err="1">
                <a:latin typeface="Times New Roman" pitchFamily="18" charset="0"/>
                <a:cs typeface="Times New Roman" pitchFamily="18" charset="0"/>
              </a:rPr>
              <a:t>Maamba</a:t>
            </a:r>
            <a:r>
              <a:rPr lang="en-ZW" dirty="0">
                <a:latin typeface="Times New Roman" pitchFamily="18" charset="0"/>
                <a:cs typeface="Times New Roman" pitchFamily="18" charset="0"/>
              </a:rPr>
              <a:t> town in Zambia across the Zambezi river with connecting the Tonga people on either side thereby enhancing unity between the two neighbouring countries. </a:t>
            </a:r>
            <a:endParaRPr lang="en-US" dirty="0">
              <a:latin typeface="Times New Roman" pitchFamily="18" charset="0"/>
              <a:cs typeface="Times New Roman" pitchFamily="18" charset="0"/>
            </a:endParaRPr>
          </a:p>
        </p:txBody>
      </p:sp>
    </p:spTree>
    <p:extLst>
      <p:ext uri="{BB962C8B-B14F-4D97-AF65-F5344CB8AC3E}">
        <p14:creationId xmlns:p14="http://schemas.microsoft.com/office/powerpoint/2010/main" val="426874019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33400" y="141514"/>
            <a:ext cx="10820400" cy="783772"/>
          </a:xfrm>
          <a:solidFill>
            <a:srgbClr val="00B050"/>
          </a:solidFill>
        </p:spPr>
        <p:txBody>
          <a:bodyPr/>
          <a:lstStyle/>
          <a:p>
            <a:r>
              <a:rPr lang="en-US" dirty="0"/>
              <a:t>TOURISM OPPORTUNITIES</a:t>
            </a:r>
          </a:p>
        </p:txBody>
      </p:sp>
      <p:sp>
        <p:nvSpPr>
          <p:cNvPr id="3" name="Content Placeholder 2"/>
          <p:cNvSpPr>
            <a:spLocks noGrp="1"/>
          </p:cNvSpPr>
          <p:nvPr>
            <p:ph idx="1"/>
          </p:nvPr>
        </p:nvSpPr>
        <p:spPr>
          <a:xfrm>
            <a:off x="272143" y="1055914"/>
            <a:ext cx="11702143" cy="5682343"/>
          </a:xfrm>
        </p:spPr>
        <p:txBody>
          <a:bodyPr>
            <a:normAutofit fontScale="92500" lnSpcReduction="10000"/>
          </a:bodyPr>
          <a:lstStyle/>
          <a:p>
            <a:pPr algn="just"/>
            <a:r>
              <a:rPr lang="en-US" sz="3200" dirty="0"/>
              <a:t>Zambia’s tourism sector is based on its environmental diversity which includes the Victoria Falls, vast wildlife resources (20 national parks), wilderness, cultural tourism, adventure activities and hunting.</a:t>
            </a:r>
          </a:p>
          <a:p>
            <a:pPr algn="just"/>
            <a:r>
              <a:rPr lang="en-ZW" sz="3200" dirty="0"/>
              <a:t>President </a:t>
            </a:r>
            <a:r>
              <a:rPr lang="en-ZW" sz="3200" dirty="0" err="1"/>
              <a:t>Dr.</a:t>
            </a:r>
            <a:r>
              <a:rPr lang="en-ZW" sz="3200" dirty="0"/>
              <a:t> E.D. Mnangagwa, President F.J. </a:t>
            </a:r>
            <a:r>
              <a:rPr lang="en-ZW" sz="3200" dirty="0" err="1"/>
              <a:t>Nyusi</a:t>
            </a:r>
            <a:r>
              <a:rPr lang="en-ZW" sz="3200" dirty="0"/>
              <a:t> and</a:t>
            </a:r>
            <a:r>
              <a:rPr lang="en-GB" sz="3200" dirty="0"/>
              <a:t> President Hakainde Hichilema </a:t>
            </a:r>
            <a:r>
              <a:rPr lang="en-ZW" sz="3200" dirty="0"/>
              <a:t>signed the Memorandum of Agreement (</a:t>
            </a:r>
            <a:r>
              <a:rPr lang="en-ZW" sz="3200" dirty="0" err="1"/>
              <a:t>MoA</a:t>
            </a:r>
            <a:r>
              <a:rPr lang="en-ZW" sz="3200" dirty="0"/>
              <a:t>) for Zimbabwe, Mozambique and Zambia (ZIMOZA) Transfrontier Conservation Area (TFCA) on 18</a:t>
            </a:r>
            <a:r>
              <a:rPr lang="en-ZW" sz="3200" baseline="30000" dirty="0"/>
              <a:t>th</a:t>
            </a:r>
            <a:r>
              <a:rPr lang="en-ZW" sz="3200" dirty="0"/>
              <a:t> July 2024 at State House in Harare, Zimbabwe. </a:t>
            </a:r>
          </a:p>
          <a:p>
            <a:pPr algn="just"/>
            <a:r>
              <a:rPr lang="en-ZW" sz="3200" dirty="0"/>
              <a:t>ZIMOZA aligns with the SADC Protocols on Wildlife Conservation and Environmental Management, promoting the conservation of shared wildlife resources through the establishment of TFCAs with the aim to protect a variety of endangered species such as elephants, hippopotamus, buffalo, lion, leopard, sable and roan and over 300 bird species. </a:t>
            </a:r>
            <a:endParaRPr lang="en-US" sz="3200" dirty="0"/>
          </a:p>
          <a:p>
            <a:pPr marL="0" indent="0">
              <a:buNone/>
            </a:pPr>
            <a:endParaRPr lang="en-US" dirty="0"/>
          </a:p>
        </p:txBody>
      </p:sp>
    </p:spTree>
    <p:extLst>
      <p:ext uri="{BB962C8B-B14F-4D97-AF65-F5344CB8AC3E}">
        <p14:creationId xmlns:p14="http://schemas.microsoft.com/office/powerpoint/2010/main" val="259421502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41514" y="174171"/>
            <a:ext cx="11898086" cy="1516517"/>
          </a:xfrm>
          <a:solidFill>
            <a:srgbClr val="00B050"/>
          </a:solidFill>
        </p:spPr>
        <p:txBody>
          <a:bodyPr>
            <a:normAutofit/>
          </a:bodyPr>
          <a:lstStyle/>
          <a:p>
            <a:r>
              <a:rPr lang="en-US" b="1" dirty="0"/>
              <a:t>Construction of Lion’s Den–Kafue Railway Project and the 	Bilateral Rail Transport Agreement </a:t>
            </a:r>
            <a:endParaRPr lang="en-US" dirty="0"/>
          </a:p>
        </p:txBody>
      </p:sp>
      <p:sp>
        <p:nvSpPr>
          <p:cNvPr id="3" name="Content Placeholder 2"/>
          <p:cNvSpPr>
            <a:spLocks noGrp="1"/>
          </p:cNvSpPr>
          <p:nvPr>
            <p:ph idx="1"/>
          </p:nvPr>
        </p:nvSpPr>
        <p:spPr>
          <a:xfrm>
            <a:off x="217713" y="1825625"/>
            <a:ext cx="11843657" cy="4836432"/>
          </a:xfrm>
        </p:spPr>
        <p:txBody>
          <a:bodyPr>
            <a:normAutofit lnSpcReduction="10000"/>
          </a:bodyPr>
          <a:lstStyle/>
          <a:p>
            <a:pPr algn="just"/>
            <a:r>
              <a:rPr lang="en-GB" sz="3200" dirty="0">
                <a:latin typeface="Times New Roman" pitchFamily="18" charset="0"/>
                <a:cs typeface="Times New Roman" pitchFamily="18" charset="0"/>
              </a:rPr>
              <a:t>In another development, in 2023 in Bulawayo, the Permanent Secretary Ministry of Transport and Logistics Eng. Fredrick </a:t>
            </a:r>
            <a:r>
              <a:rPr lang="en-GB" sz="3200" dirty="0" err="1">
                <a:latin typeface="Times New Roman" pitchFamily="18" charset="0"/>
                <a:cs typeface="Times New Roman" pitchFamily="18" charset="0"/>
              </a:rPr>
              <a:t>Mwalusaka</a:t>
            </a:r>
            <a:r>
              <a:rPr lang="en-GB" sz="3200" dirty="0">
                <a:latin typeface="Times New Roman" pitchFamily="18" charset="0"/>
                <a:cs typeface="Times New Roman" pitchFamily="18" charset="0"/>
              </a:rPr>
              <a:t> and the Permanent Secretary, Ministry of Transport, Communication and Infrastructural Development, Zimbabwe, Eng. Amos </a:t>
            </a:r>
            <a:r>
              <a:rPr lang="en-GB" sz="3200" dirty="0" err="1">
                <a:latin typeface="Times New Roman" pitchFamily="18" charset="0"/>
                <a:cs typeface="Times New Roman" pitchFamily="18" charset="0"/>
              </a:rPr>
              <a:t>Marawa</a:t>
            </a:r>
            <a:r>
              <a:rPr lang="en-GB" sz="3200" dirty="0">
                <a:latin typeface="Times New Roman" pitchFamily="18" charset="0"/>
                <a:cs typeface="Times New Roman" pitchFamily="18" charset="0"/>
              </a:rPr>
              <a:t> held preliminary meetings on the Kafue – Lion’s Den Project that envisages the construction of a new railway line to link Lion’s Den in Zimbabwe with Kafue in Zambia, where it joins the Zambia Railway Network.</a:t>
            </a:r>
          </a:p>
          <a:p>
            <a:pPr algn="just"/>
            <a:r>
              <a:rPr lang="en-US" sz="3200" dirty="0">
                <a:latin typeface="Times New Roman" pitchFamily="18" charset="0"/>
                <a:cs typeface="Times New Roman" pitchFamily="18" charset="0"/>
              </a:rPr>
              <a:t>Both countries are to expedite internal processes to facilitate conclusion and signing of the MoU and the Agreement by December 2024</a:t>
            </a:r>
          </a:p>
          <a:p>
            <a:endParaRPr lang="en-US" dirty="0"/>
          </a:p>
        </p:txBody>
      </p:sp>
    </p:spTree>
    <p:extLst>
      <p:ext uri="{BB962C8B-B14F-4D97-AF65-F5344CB8AC3E}">
        <p14:creationId xmlns:p14="http://schemas.microsoft.com/office/powerpoint/2010/main" val="68622616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8200" y="174171"/>
            <a:ext cx="10515600" cy="827315"/>
          </a:xfrm>
          <a:solidFill>
            <a:srgbClr val="00B050"/>
          </a:solidFill>
        </p:spPr>
        <p:txBody>
          <a:bodyPr>
            <a:normAutofit/>
          </a:bodyPr>
          <a:lstStyle/>
          <a:p>
            <a:r>
              <a:rPr lang="en-US" dirty="0"/>
              <a:t>LOWER ZAMBEZI-MANA POOLS TFCA</a:t>
            </a:r>
          </a:p>
        </p:txBody>
      </p:sp>
      <p:sp>
        <p:nvSpPr>
          <p:cNvPr id="3" name="Content Placeholder 2"/>
          <p:cNvSpPr>
            <a:spLocks noGrp="1"/>
          </p:cNvSpPr>
          <p:nvPr>
            <p:ph idx="1"/>
          </p:nvPr>
        </p:nvSpPr>
        <p:spPr>
          <a:xfrm>
            <a:off x="402771" y="1273628"/>
            <a:ext cx="11669486" cy="5508171"/>
          </a:xfrm>
        </p:spPr>
        <p:txBody>
          <a:bodyPr>
            <a:normAutofit fontScale="92500" lnSpcReduction="10000"/>
          </a:bodyPr>
          <a:lstStyle/>
          <a:p>
            <a:pPr algn="just"/>
            <a:r>
              <a:rPr lang="en-GB" sz="3300" dirty="0">
                <a:latin typeface="Times New Roman" pitchFamily="18" charset="0"/>
                <a:cs typeface="Times New Roman" pitchFamily="18" charset="0"/>
              </a:rPr>
              <a:t>On 26</a:t>
            </a:r>
            <a:r>
              <a:rPr lang="en-GB" sz="3300" baseline="30000" dirty="0">
                <a:latin typeface="Times New Roman" pitchFamily="18" charset="0"/>
                <a:cs typeface="Times New Roman" pitchFamily="18" charset="0"/>
              </a:rPr>
              <a:t>th</a:t>
            </a:r>
            <a:r>
              <a:rPr lang="en-GB" sz="3300" dirty="0">
                <a:latin typeface="Times New Roman" pitchFamily="18" charset="0"/>
                <a:cs typeface="Times New Roman" pitchFamily="18" charset="0"/>
              </a:rPr>
              <a:t> May, 2023, Hon. Rodney Sikumba, Minister of Tourism, Zambia and Hon. Mangaliso Ngobizitha Ndhlovu, Minister of Environment, Climate, Tourism and Hospitality Industry, Zimbabwe signed a Memorandum of Understanding (MoU) on the development of the Lower Zambezi-Mana Pools Transfrontier Conservation Area (LOZAMAP-TFCA).</a:t>
            </a:r>
          </a:p>
          <a:p>
            <a:pPr algn="just"/>
            <a:r>
              <a:rPr lang="en-GB" sz="3300" dirty="0">
                <a:latin typeface="Times New Roman" pitchFamily="18" charset="0"/>
                <a:cs typeface="Times New Roman" pitchFamily="18" charset="0"/>
              </a:rPr>
              <a:t>Zambia may open a pipeline through Zimbabwe to transport gas and oil products from the port of Beira, Mozambique. Based on this, a team from Zambia Energy Regulation Board (ERB) lead by Mr. Reynolds C. </a:t>
            </a:r>
            <a:r>
              <a:rPr lang="en-GB" sz="3300" dirty="0" err="1">
                <a:latin typeface="Times New Roman" pitchFamily="18" charset="0"/>
                <a:cs typeface="Times New Roman" pitchFamily="18" charset="0"/>
              </a:rPr>
              <a:t>Bowa</a:t>
            </a:r>
            <a:r>
              <a:rPr lang="en-GB" sz="3300" dirty="0">
                <a:latin typeface="Times New Roman" pitchFamily="18" charset="0"/>
                <a:cs typeface="Times New Roman" pitchFamily="18" charset="0"/>
              </a:rPr>
              <a:t> visited Zimbabwe in 2023 to discuss on the importation of oil and liquefied natural gas (</a:t>
            </a:r>
            <a:r>
              <a:rPr lang="en-GB" sz="3300" dirty="0" err="1">
                <a:latin typeface="Times New Roman" pitchFamily="18" charset="0"/>
                <a:cs typeface="Times New Roman" pitchFamily="18" charset="0"/>
              </a:rPr>
              <a:t>lNG</a:t>
            </a:r>
            <a:r>
              <a:rPr lang="en-GB" sz="3300" dirty="0">
                <a:latin typeface="Times New Roman" pitchFamily="18" charset="0"/>
                <a:cs typeface="Times New Roman" pitchFamily="18" charset="0"/>
              </a:rPr>
              <a:t>) from port of </a:t>
            </a:r>
            <a:r>
              <a:rPr lang="en-GB" sz="3300" dirty="0" err="1">
                <a:latin typeface="Times New Roman" pitchFamily="18" charset="0"/>
                <a:cs typeface="Times New Roman" pitchFamily="18" charset="0"/>
              </a:rPr>
              <a:t>Beila</a:t>
            </a:r>
            <a:r>
              <a:rPr lang="en-GB" sz="3300" dirty="0">
                <a:latin typeface="Times New Roman" pitchFamily="18" charset="0"/>
                <a:cs typeface="Times New Roman" pitchFamily="18" charset="0"/>
              </a:rPr>
              <a:t> through Zimbabwe as a storage facility and then to Zambia and on a long run, construct a pipe line to be extended from Zimbabwe to Zambia.</a:t>
            </a:r>
            <a:endParaRPr lang="en-US" sz="3300" dirty="0">
              <a:latin typeface="Times New Roman" pitchFamily="18" charset="0"/>
              <a:cs typeface="Times New Roman" pitchFamily="18" charset="0"/>
            </a:endParaRPr>
          </a:p>
          <a:p>
            <a:endParaRPr lang="en-US" dirty="0"/>
          </a:p>
        </p:txBody>
      </p:sp>
    </p:spTree>
    <p:extLst>
      <p:ext uri="{BB962C8B-B14F-4D97-AF65-F5344CB8AC3E}">
        <p14:creationId xmlns:p14="http://schemas.microsoft.com/office/powerpoint/2010/main" val="289928145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8200" y="217715"/>
            <a:ext cx="10515600" cy="849086"/>
          </a:xfrm>
          <a:solidFill>
            <a:srgbClr val="00B050"/>
          </a:solidFill>
        </p:spPr>
        <p:txBody>
          <a:bodyPr/>
          <a:lstStyle/>
          <a:p>
            <a:r>
              <a:rPr lang="en-US" dirty="0"/>
              <a:t>ZAMBIA AND ZIMBABWE PROJECTS</a:t>
            </a:r>
          </a:p>
        </p:txBody>
      </p:sp>
      <p:sp>
        <p:nvSpPr>
          <p:cNvPr id="3" name="Content Placeholder 2"/>
          <p:cNvSpPr>
            <a:spLocks noGrp="1"/>
          </p:cNvSpPr>
          <p:nvPr>
            <p:ph idx="1"/>
          </p:nvPr>
        </p:nvSpPr>
        <p:spPr>
          <a:xfrm>
            <a:off x="315685" y="1469570"/>
            <a:ext cx="11538857" cy="5094515"/>
          </a:xfrm>
        </p:spPr>
        <p:txBody>
          <a:bodyPr>
            <a:normAutofit/>
          </a:bodyPr>
          <a:lstStyle/>
          <a:p>
            <a:pPr algn="just"/>
            <a:r>
              <a:rPr lang="en-ZW" sz="3200" dirty="0">
                <a:latin typeface="Times New Roman" pitchFamily="18" charset="0"/>
                <a:cs typeface="Times New Roman" pitchFamily="18" charset="0"/>
              </a:rPr>
              <a:t>The construction and implementation of the Batoka Gorge </a:t>
            </a:r>
            <a:r>
              <a:rPr lang="en-ZW" sz="3200" dirty="0" err="1">
                <a:latin typeface="Times New Roman" pitchFamily="18" charset="0"/>
                <a:cs typeface="Times New Roman" pitchFamily="18" charset="0"/>
              </a:rPr>
              <a:t>Hidro</a:t>
            </a:r>
            <a:r>
              <a:rPr lang="en-ZW" sz="3200" dirty="0">
                <a:latin typeface="Times New Roman" pitchFamily="18" charset="0"/>
                <a:cs typeface="Times New Roman" pitchFamily="18" charset="0"/>
              </a:rPr>
              <a:t> Power station.</a:t>
            </a:r>
          </a:p>
          <a:p>
            <a:pPr marL="0" indent="0" algn="just">
              <a:buNone/>
            </a:pPr>
            <a:endParaRPr lang="en-ZW" sz="3200" dirty="0">
              <a:latin typeface="Times New Roman" pitchFamily="18" charset="0"/>
              <a:cs typeface="Times New Roman" pitchFamily="18" charset="0"/>
            </a:endParaRPr>
          </a:p>
          <a:p>
            <a:pPr algn="just"/>
            <a:r>
              <a:rPr lang="fr-FR" sz="3200" dirty="0" err="1">
                <a:latin typeface="Times New Roman" pitchFamily="18" charset="0"/>
                <a:cs typeface="Times New Roman" pitchFamily="18" charset="0"/>
              </a:rPr>
              <a:t>Ongoing</a:t>
            </a:r>
            <a:r>
              <a:rPr lang="fr-FR" sz="3200" dirty="0">
                <a:latin typeface="Times New Roman" pitchFamily="18" charset="0"/>
                <a:cs typeface="Times New Roman" pitchFamily="18" charset="0"/>
              </a:rPr>
              <a:t> </a:t>
            </a:r>
            <a:r>
              <a:rPr lang="fr-FR" sz="3200" dirty="0" err="1">
                <a:latin typeface="Times New Roman" pitchFamily="18" charset="0"/>
                <a:cs typeface="Times New Roman" pitchFamily="18" charset="0"/>
              </a:rPr>
              <a:t>rehabilitation</a:t>
            </a:r>
            <a:r>
              <a:rPr lang="fr-FR" sz="3200" dirty="0">
                <a:latin typeface="Times New Roman" pitchFamily="18" charset="0"/>
                <a:cs typeface="Times New Roman" pitchFamily="18" charset="0"/>
              </a:rPr>
              <a:t> </a:t>
            </a:r>
            <a:r>
              <a:rPr lang="fr-FR" sz="3200" dirty="0" err="1">
                <a:latin typeface="Times New Roman" pitchFamily="18" charset="0"/>
                <a:cs typeface="Times New Roman" pitchFamily="18" charset="0"/>
              </a:rPr>
              <a:t>works</a:t>
            </a:r>
            <a:r>
              <a:rPr lang="fr-FR" sz="3200" dirty="0">
                <a:latin typeface="Times New Roman" pitchFamily="18" charset="0"/>
                <a:cs typeface="Times New Roman" pitchFamily="18" charset="0"/>
              </a:rPr>
              <a:t> on the Kariba North and South Power Project dam </a:t>
            </a:r>
            <a:r>
              <a:rPr lang="fr-FR" sz="3200" dirty="0" err="1">
                <a:latin typeface="Times New Roman" pitchFamily="18" charset="0"/>
                <a:cs typeface="Times New Roman" pitchFamily="18" charset="0"/>
              </a:rPr>
              <a:t>wall</a:t>
            </a:r>
            <a:r>
              <a:rPr lang="fr-FR" sz="3200" dirty="0">
                <a:latin typeface="Times New Roman" pitchFamily="18" charset="0"/>
                <a:cs typeface="Times New Roman" pitchFamily="18" charset="0"/>
              </a:rPr>
              <a:t> </a:t>
            </a:r>
            <a:r>
              <a:rPr lang="fr-FR" sz="3200" dirty="0" err="1">
                <a:latin typeface="Times New Roman" pitchFamily="18" charset="0"/>
                <a:cs typeface="Times New Roman" pitchFamily="18" charset="0"/>
              </a:rPr>
              <a:t>rehabilitation</a:t>
            </a:r>
            <a:r>
              <a:rPr lang="fr-FR" sz="3200" dirty="0">
                <a:latin typeface="Times New Roman" pitchFamily="18" charset="0"/>
                <a:cs typeface="Times New Roman" pitchFamily="18" charset="0"/>
              </a:rPr>
              <a:t>. There </a:t>
            </a:r>
            <a:r>
              <a:rPr lang="fr-FR" sz="3200" dirty="0" err="1">
                <a:latin typeface="Times New Roman" pitchFamily="18" charset="0"/>
                <a:cs typeface="Times New Roman" pitchFamily="18" charset="0"/>
              </a:rPr>
              <a:t>is</a:t>
            </a:r>
            <a:r>
              <a:rPr lang="fr-FR" sz="3200" dirty="0">
                <a:latin typeface="Times New Roman" pitchFamily="18" charset="0"/>
                <a:cs typeface="Times New Roman" pitchFamily="18" charset="0"/>
              </a:rPr>
              <a:t> </a:t>
            </a:r>
            <a:r>
              <a:rPr lang="fr-FR" sz="3200" dirty="0" err="1">
                <a:latin typeface="Times New Roman" pitchFamily="18" charset="0"/>
                <a:cs typeface="Times New Roman" pitchFamily="18" charset="0"/>
              </a:rPr>
              <a:t>need</a:t>
            </a:r>
            <a:r>
              <a:rPr lang="fr-FR" sz="3200" dirty="0">
                <a:latin typeface="Times New Roman" pitchFamily="18" charset="0"/>
                <a:cs typeface="Times New Roman" pitchFamily="18" charset="0"/>
              </a:rPr>
              <a:t> for Zambia and Zimbabwe to expedite engagement to resolve management issues of the Kariba dam.</a:t>
            </a:r>
            <a:endParaRPr lang="en-ZW" sz="3200" dirty="0">
              <a:latin typeface="Times New Roman" pitchFamily="18" charset="0"/>
              <a:cs typeface="Times New Roman" pitchFamily="18" charset="0"/>
            </a:endParaRPr>
          </a:p>
          <a:p>
            <a:pPr marL="0" indent="0" algn="just">
              <a:buNone/>
            </a:pPr>
            <a:endParaRPr lang="en-ZW" sz="3200" dirty="0">
              <a:latin typeface="Times New Roman" pitchFamily="18" charset="0"/>
              <a:cs typeface="Times New Roman" pitchFamily="18" charset="0"/>
            </a:endParaRPr>
          </a:p>
          <a:p>
            <a:pPr algn="just"/>
            <a:r>
              <a:rPr lang="en-ZW" sz="3200" dirty="0" err="1">
                <a:latin typeface="Times New Roman" pitchFamily="18" charset="0"/>
                <a:cs typeface="Times New Roman" pitchFamily="18" charset="0"/>
              </a:rPr>
              <a:t>Kanyemba</a:t>
            </a:r>
            <a:r>
              <a:rPr lang="en-ZW" sz="3200" dirty="0">
                <a:latin typeface="Times New Roman" pitchFamily="18" charset="0"/>
                <a:cs typeface="Times New Roman" pitchFamily="18" charset="0"/>
              </a:rPr>
              <a:t> road and </a:t>
            </a:r>
            <a:r>
              <a:rPr lang="en-ZW" sz="3200" dirty="0" err="1">
                <a:latin typeface="Times New Roman" pitchFamily="18" charset="0"/>
                <a:cs typeface="Times New Roman" pitchFamily="18" charset="0"/>
              </a:rPr>
              <a:t>Kanyemba</a:t>
            </a:r>
            <a:r>
              <a:rPr lang="en-ZW" sz="3200" dirty="0">
                <a:latin typeface="Times New Roman" pitchFamily="18" charset="0"/>
                <a:cs typeface="Times New Roman" pitchFamily="18" charset="0"/>
              </a:rPr>
              <a:t> border post being upgraded, widened and constructed to improve the transport and trade route</a:t>
            </a:r>
            <a:endParaRPr lang="en-US" sz="3200" dirty="0">
              <a:latin typeface="Times New Roman" pitchFamily="18" charset="0"/>
              <a:cs typeface="Times New Roman" pitchFamily="18" charset="0"/>
            </a:endParaRPr>
          </a:p>
          <a:p>
            <a:pPr marL="0" indent="0">
              <a:buNone/>
            </a:pPr>
            <a:endParaRPr lang="en-US" dirty="0"/>
          </a:p>
        </p:txBody>
      </p:sp>
    </p:spTree>
    <p:extLst>
      <p:ext uri="{BB962C8B-B14F-4D97-AF65-F5344CB8AC3E}">
        <p14:creationId xmlns:p14="http://schemas.microsoft.com/office/powerpoint/2010/main" val="36404866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Placeholder 8">
            <a:extLst>
              <a:ext uri="{FF2B5EF4-FFF2-40B4-BE49-F238E27FC236}">
                <a16:creationId xmlns:a16="http://schemas.microsoft.com/office/drawing/2014/main" id="{2634BAFE-8109-3A47-9207-6A2C37EC8629}"/>
              </a:ext>
            </a:extLst>
          </p:cNvPr>
          <p:cNvPicPr>
            <a:picLocks noGrp="1" noChangeAspect="1"/>
          </p:cNvPicPr>
          <p:nvPr>
            <p:ph type="pic" sz="quarter" idx="10"/>
          </p:nvPr>
        </p:nvPicPr>
        <p:blipFill rotWithShape="1">
          <a:blip r:embed="rId2" cstate="screen">
            <a:duotone>
              <a:schemeClr val="bg2">
                <a:shade val="45000"/>
                <a:satMod val="135000"/>
              </a:schemeClr>
              <a:prstClr val="white"/>
            </a:duotone>
            <a:alphaModFix amt="56000"/>
            <a:extLst>
              <a:ext uri="{BEBA8EAE-BF5A-486C-A8C5-ECC9F3942E4B}">
                <a14:imgProps xmlns:a14="http://schemas.microsoft.com/office/drawing/2010/main">
                  <a14:imgLayer r:embed="rId3">
                    <a14:imgEffect>
                      <a14:sharpenSoften amount="-34000"/>
                    </a14:imgEffect>
                  </a14:imgLayer>
                </a14:imgProps>
              </a:ext>
              <a:ext uri="{28A0092B-C50C-407E-A947-70E740481C1C}">
                <a14:useLocalDpi xmlns:a14="http://schemas.microsoft.com/office/drawing/2010/main"/>
              </a:ext>
            </a:extLst>
          </a:blip>
          <a:srcRect/>
          <a:stretch/>
        </p:blipFill>
        <p:spPr>
          <a:xfrm>
            <a:off x="8814" y="-54324"/>
            <a:ext cx="12192000" cy="6858000"/>
          </a:xfrm>
          <a:blipFill>
            <a:blip r:embed="rId4">
              <a:duotone>
                <a:schemeClr val="bg2">
                  <a:shade val="45000"/>
                  <a:satMod val="135000"/>
                </a:schemeClr>
                <a:prstClr val="white"/>
              </a:duotone>
              <a:alphaModFix amt="56000"/>
            </a:blip>
            <a:tile tx="0" ty="0" sx="100000" sy="100000" flip="none" algn="tl"/>
          </a:blipFill>
        </p:spPr>
      </p:pic>
      <p:sp>
        <p:nvSpPr>
          <p:cNvPr id="10" name="Rectangle 9">
            <a:extLst>
              <a:ext uri="{FF2B5EF4-FFF2-40B4-BE49-F238E27FC236}">
                <a16:creationId xmlns:a16="http://schemas.microsoft.com/office/drawing/2014/main" id="{70D45AB1-CA14-0A4B-842C-B59A6C5C0EA7}"/>
              </a:ext>
            </a:extLst>
          </p:cNvPr>
          <p:cNvSpPr/>
          <p:nvPr/>
        </p:nvSpPr>
        <p:spPr>
          <a:xfrm>
            <a:off x="1589525" y="1331495"/>
            <a:ext cx="9012949" cy="3991617"/>
          </a:xfrm>
          <a:prstGeom prst="rect">
            <a:avLst/>
          </a:prstGeom>
          <a:solidFill>
            <a:srgbClr val="000000">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15" name="Straight Connector 14">
            <a:extLst>
              <a:ext uri="{FF2B5EF4-FFF2-40B4-BE49-F238E27FC236}">
                <a16:creationId xmlns:a16="http://schemas.microsoft.com/office/drawing/2014/main" id="{7229F898-52DB-8842-9175-50A6D8F1A82A}"/>
              </a:ext>
            </a:extLst>
          </p:cNvPr>
          <p:cNvCxnSpPr>
            <a:cxnSpLocks/>
          </p:cNvCxnSpPr>
          <p:nvPr/>
        </p:nvCxnSpPr>
        <p:spPr>
          <a:xfrm>
            <a:off x="1907652" y="1331495"/>
            <a:ext cx="2985190" cy="0"/>
          </a:xfrm>
          <a:prstGeom prst="line">
            <a:avLst/>
          </a:prstGeom>
          <a:ln w="123825">
            <a:solidFill>
              <a:srgbClr val="FFC000"/>
            </a:solidFill>
          </a:ln>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123A6A77-C8F3-F64B-B643-E04E1EB73132}"/>
              </a:ext>
            </a:extLst>
          </p:cNvPr>
          <p:cNvSpPr txBox="1"/>
          <p:nvPr/>
        </p:nvSpPr>
        <p:spPr>
          <a:xfrm>
            <a:off x="1907652" y="1681125"/>
            <a:ext cx="6091310" cy="707886"/>
          </a:xfrm>
          <a:prstGeom prst="rect">
            <a:avLst/>
          </a:prstGeom>
          <a:noFill/>
        </p:spPr>
        <p:txBody>
          <a:bodyPr wrap="square" rtlCol="0">
            <a:spAutoFit/>
          </a:bodyPr>
          <a:lstStyle/>
          <a:p>
            <a:r>
              <a:rPr lang="en-GB" sz="4000" b="1" spc="300" dirty="0">
                <a:solidFill>
                  <a:srgbClr val="FFC000"/>
                </a:solidFill>
                <a:latin typeface="Roboto Condensed" pitchFamily="2" charset="0"/>
                <a:ea typeface="Roboto Condensed" pitchFamily="2" charset="0"/>
              </a:rPr>
              <a:t>Conclusion</a:t>
            </a:r>
          </a:p>
        </p:txBody>
      </p:sp>
      <p:sp>
        <p:nvSpPr>
          <p:cNvPr id="2" name="Rectangle 1">
            <a:extLst>
              <a:ext uri="{FF2B5EF4-FFF2-40B4-BE49-F238E27FC236}">
                <a16:creationId xmlns:a16="http://schemas.microsoft.com/office/drawing/2014/main" id="{CE910DCC-CB98-3D45-A7E0-CDEDF4B5A13D}"/>
              </a:ext>
            </a:extLst>
          </p:cNvPr>
          <p:cNvSpPr/>
          <p:nvPr/>
        </p:nvSpPr>
        <p:spPr>
          <a:xfrm>
            <a:off x="1676400" y="2542030"/>
            <a:ext cx="8839200" cy="3477875"/>
          </a:xfrm>
          <a:prstGeom prst="rect">
            <a:avLst/>
          </a:prstGeom>
        </p:spPr>
        <p:txBody>
          <a:bodyPr wrap="square">
            <a:spAutoFit/>
          </a:bodyPr>
          <a:lstStyle/>
          <a:p>
            <a:pPr lvl="0" algn="just">
              <a:defRPr sz="1800" b="0" i="0" u="none" strike="noStrike" kern="0" cap="none" spc="0" baseline="0">
                <a:solidFill>
                  <a:srgbClr val="000000"/>
                </a:solidFill>
                <a:uFillTx/>
              </a:defRPr>
            </a:pPr>
            <a:r>
              <a:rPr lang="en-US" sz="2000" dirty="0">
                <a:solidFill>
                  <a:schemeClr val="bg1"/>
                </a:solidFill>
                <a:latin typeface="Roboto Condensed" pitchFamily="2" charset="0"/>
                <a:ea typeface="Roboto Condensed" pitchFamily="2" charset="0"/>
                <a:cs typeface="Arial" pitchFamily="34"/>
              </a:rPr>
              <a:t>There is a need to take advantage of the two Countries’ aim to transform into Economic Prosperity and the levels of peace that can provide peace building and investment insights.</a:t>
            </a:r>
          </a:p>
          <a:p>
            <a:pPr lvl="0" algn="just">
              <a:defRPr sz="1800" b="0" i="0" u="none" strike="noStrike" kern="0" cap="none" spc="0" baseline="0">
                <a:solidFill>
                  <a:srgbClr val="000000"/>
                </a:solidFill>
                <a:uFillTx/>
              </a:defRPr>
            </a:pPr>
            <a:endParaRPr lang="en-US" sz="2000" dirty="0">
              <a:solidFill>
                <a:schemeClr val="bg1"/>
              </a:solidFill>
              <a:latin typeface="Roboto Condensed" pitchFamily="2" charset="0"/>
              <a:ea typeface="Roboto Condensed" pitchFamily="2" charset="0"/>
              <a:cs typeface="Arial" pitchFamily="34"/>
            </a:endParaRPr>
          </a:p>
          <a:p>
            <a:pPr lvl="0" algn="just">
              <a:defRPr sz="1800" b="0" i="0" u="none" strike="noStrike" kern="0" cap="none" spc="0" baseline="0">
                <a:solidFill>
                  <a:srgbClr val="000000"/>
                </a:solidFill>
                <a:uFillTx/>
              </a:defRPr>
            </a:pPr>
            <a:r>
              <a:rPr lang="en-US" sz="2000" dirty="0">
                <a:solidFill>
                  <a:schemeClr val="bg1"/>
                </a:solidFill>
                <a:latin typeface="Roboto Condensed" pitchFamily="2" charset="0"/>
                <a:ea typeface="Roboto Condensed" pitchFamily="2" charset="0"/>
                <a:cs typeface="Arial" pitchFamily="34"/>
              </a:rPr>
              <a:t>There are no stringent visa Requirements between Zambia and Zimbabwe and companies should take advantage of that.</a:t>
            </a:r>
          </a:p>
          <a:p>
            <a:pPr lvl="0" algn="just">
              <a:defRPr sz="1800" b="0" i="0" u="none" strike="noStrike" kern="0" cap="none" spc="0" baseline="0">
                <a:solidFill>
                  <a:srgbClr val="000000"/>
                </a:solidFill>
                <a:uFillTx/>
              </a:defRPr>
            </a:pPr>
            <a:endParaRPr lang="en-US" sz="2000" dirty="0">
              <a:solidFill>
                <a:schemeClr val="bg1"/>
              </a:solidFill>
              <a:latin typeface="Roboto Condensed" pitchFamily="2" charset="0"/>
              <a:ea typeface="Roboto Condensed" pitchFamily="2" charset="0"/>
              <a:cs typeface="Arial" pitchFamily="34"/>
            </a:endParaRPr>
          </a:p>
          <a:p>
            <a:pPr lvl="0" algn="just">
              <a:defRPr sz="1800" b="0" i="0" u="none" strike="noStrike" kern="0" cap="none" spc="0" baseline="0">
                <a:solidFill>
                  <a:srgbClr val="000000"/>
                </a:solidFill>
                <a:uFillTx/>
              </a:defRPr>
            </a:pPr>
            <a:endParaRPr lang="en-US" sz="2000" dirty="0">
              <a:solidFill>
                <a:schemeClr val="bg1"/>
              </a:solidFill>
              <a:latin typeface="Roboto Condensed" pitchFamily="2" charset="0"/>
              <a:ea typeface="Roboto Condensed" pitchFamily="2" charset="0"/>
              <a:cs typeface="Arial" pitchFamily="34"/>
            </a:endParaRPr>
          </a:p>
          <a:p>
            <a:pPr lvl="0" algn="just">
              <a:defRPr sz="1800" b="0" i="0" u="none" strike="noStrike" kern="0" cap="none" spc="0" baseline="0">
                <a:solidFill>
                  <a:srgbClr val="000000"/>
                </a:solidFill>
                <a:uFillTx/>
              </a:defRPr>
            </a:pPr>
            <a:endParaRPr lang="en-US" sz="2000" dirty="0">
              <a:solidFill>
                <a:schemeClr val="bg1"/>
              </a:solidFill>
              <a:latin typeface="Roboto Condensed" pitchFamily="2" charset="0"/>
              <a:ea typeface="Roboto Condensed" pitchFamily="2" charset="0"/>
              <a:cs typeface="Arial" pitchFamily="34"/>
            </a:endParaRPr>
          </a:p>
          <a:p>
            <a:pPr lvl="0" algn="just">
              <a:defRPr sz="1800" b="0" i="0" u="none" strike="noStrike" kern="0" cap="none" spc="0" baseline="0">
                <a:solidFill>
                  <a:srgbClr val="000000"/>
                </a:solidFill>
                <a:uFillTx/>
              </a:defRPr>
            </a:pPr>
            <a:endParaRPr lang="en-US" sz="2000" dirty="0">
              <a:solidFill>
                <a:schemeClr val="bg1"/>
              </a:solidFill>
              <a:latin typeface="Roboto Condensed" pitchFamily="2" charset="0"/>
              <a:ea typeface="Roboto Condensed" pitchFamily="2" charset="0"/>
              <a:cs typeface="Arial" pitchFamily="34"/>
            </a:endParaRPr>
          </a:p>
          <a:p>
            <a:pPr lvl="0" algn="just">
              <a:defRPr sz="1800" b="0" i="0" u="none" strike="noStrike" kern="0" cap="none" spc="0" baseline="0">
                <a:solidFill>
                  <a:srgbClr val="000000"/>
                </a:solidFill>
                <a:uFillTx/>
              </a:defRPr>
            </a:pPr>
            <a:endParaRPr lang="en-US" sz="2000" dirty="0">
              <a:solidFill>
                <a:schemeClr val="bg1"/>
              </a:solidFill>
              <a:latin typeface="Roboto Condensed" pitchFamily="2" charset="0"/>
              <a:ea typeface="Roboto Condensed" pitchFamily="2" charset="0"/>
              <a:cs typeface="Arial" pitchFamily="34"/>
            </a:endParaRPr>
          </a:p>
        </p:txBody>
      </p:sp>
      <p:pic>
        <p:nvPicPr>
          <p:cNvPr id="3" name="Graphic 2">
            <a:extLst>
              <a:ext uri="{FF2B5EF4-FFF2-40B4-BE49-F238E27FC236}">
                <a16:creationId xmlns:a16="http://schemas.microsoft.com/office/drawing/2014/main" id="{174D42EF-5DDB-93C1-9377-C79646615D0C}"/>
              </a:ext>
            </a:extLst>
          </p:cNvPr>
          <p:cNvPicPr>
            <a:picLocks noChangeAspect="1"/>
          </p:cNvPicPr>
          <p:nvPr/>
        </p:nvPicPr>
        <p:blipFill>
          <a:blip r:embed="rId5">
            <a:extLst>
              <a:ext uri="{96DAC541-7B7A-43D3-8B79-37D633B846F1}">
                <asvg:svgBlip xmlns:asvg="http://schemas.microsoft.com/office/drawing/2016/SVG/main" r:embed="rId6"/>
              </a:ext>
            </a:extLst>
          </a:blip>
          <a:srcRect l="39159" b="10273"/>
          <a:stretch>
            <a:fillRect/>
          </a:stretch>
        </p:blipFill>
        <p:spPr>
          <a:xfrm rot="4093658">
            <a:off x="130661" y="-1124350"/>
            <a:ext cx="2327993" cy="3745377"/>
          </a:xfrm>
          <a:custGeom>
            <a:avLst/>
            <a:gdLst>
              <a:gd name="connsiteX0" fmla="*/ 0 w 1595303"/>
              <a:gd name="connsiteY0" fmla="*/ 1929410 h 2566593"/>
              <a:gd name="connsiteX1" fmla="*/ 770630 w 1595303"/>
              <a:gd name="connsiteY1" fmla="*/ 0 h 2566593"/>
              <a:gd name="connsiteX2" fmla="*/ 1595303 w 1595303"/>
              <a:gd name="connsiteY2" fmla="*/ 0 h 2566593"/>
              <a:gd name="connsiteX3" fmla="*/ 1595303 w 1595303"/>
              <a:gd name="connsiteY3" fmla="*/ 2566593 h 2566593"/>
            </a:gdLst>
            <a:ahLst/>
            <a:cxnLst>
              <a:cxn ang="0">
                <a:pos x="connsiteX0" y="connsiteY0"/>
              </a:cxn>
              <a:cxn ang="0">
                <a:pos x="connsiteX1" y="connsiteY1"/>
              </a:cxn>
              <a:cxn ang="0">
                <a:pos x="connsiteX2" y="connsiteY2"/>
              </a:cxn>
              <a:cxn ang="0">
                <a:pos x="connsiteX3" y="connsiteY3"/>
              </a:cxn>
            </a:cxnLst>
            <a:rect l="l" t="t" r="r" b="b"/>
            <a:pathLst>
              <a:path w="1595303" h="2566593">
                <a:moveTo>
                  <a:pt x="0" y="1929410"/>
                </a:moveTo>
                <a:lnTo>
                  <a:pt x="770630" y="0"/>
                </a:lnTo>
                <a:lnTo>
                  <a:pt x="1595303" y="0"/>
                </a:lnTo>
                <a:lnTo>
                  <a:pt x="1595303" y="2566593"/>
                </a:lnTo>
                <a:close/>
              </a:path>
            </a:pathLst>
          </a:custGeom>
          <a:effectLst>
            <a:outerShdw blurRad="406400" dist="114300" dir="6420000" sx="89000" sy="89000" algn="t" rotWithShape="0">
              <a:srgbClr val="EE9012">
                <a:alpha val="62000"/>
              </a:srgbClr>
            </a:outerShdw>
          </a:effectLst>
        </p:spPr>
      </p:pic>
      <p:sp>
        <p:nvSpPr>
          <p:cNvPr id="5" name="Freeform: Shape 4">
            <a:extLst>
              <a:ext uri="{FF2B5EF4-FFF2-40B4-BE49-F238E27FC236}">
                <a16:creationId xmlns:a16="http://schemas.microsoft.com/office/drawing/2014/main" id="{275D2DEA-F903-B785-4A37-19BDE4F02B49}"/>
              </a:ext>
            </a:extLst>
          </p:cNvPr>
          <p:cNvSpPr/>
          <p:nvPr/>
        </p:nvSpPr>
        <p:spPr>
          <a:xfrm>
            <a:off x="11080257" y="385"/>
            <a:ext cx="1120557" cy="1166056"/>
          </a:xfrm>
          <a:custGeom>
            <a:avLst/>
            <a:gdLst>
              <a:gd name="connsiteX0" fmla="*/ 1550109 w 1576226"/>
              <a:gd name="connsiteY0" fmla="*/ 1588006 h 1640228"/>
              <a:gd name="connsiteX1" fmla="*/ 1576220 w 1576226"/>
              <a:gd name="connsiteY1" fmla="*/ 1614117 h 1640228"/>
              <a:gd name="connsiteX2" fmla="*/ 1550109 w 1576226"/>
              <a:gd name="connsiteY2" fmla="*/ 1640228 h 1640228"/>
              <a:gd name="connsiteX3" fmla="*/ 1523998 w 1576226"/>
              <a:gd name="connsiteY3" fmla="*/ 1614117 h 1640228"/>
              <a:gd name="connsiteX4" fmla="*/ 1550109 w 1576226"/>
              <a:gd name="connsiteY4" fmla="*/ 1588006 h 1640228"/>
              <a:gd name="connsiteX5" fmla="*/ 1332395 w 1576226"/>
              <a:gd name="connsiteY5" fmla="*/ 1588006 h 1640228"/>
              <a:gd name="connsiteX6" fmla="*/ 1358506 w 1576226"/>
              <a:gd name="connsiteY6" fmla="*/ 1614117 h 1640228"/>
              <a:gd name="connsiteX7" fmla="*/ 1332395 w 1576226"/>
              <a:gd name="connsiteY7" fmla="*/ 1640228 h 1640228"/>
              <a:gd name="connsiteX8" fmla="*/ 1306284 w 1576226"/>
              <a:gd name="connsiteY8" fmla="*/ 1614117 h 1640228"/>
              <a:gd name="connsiteX9" fmla="*/ 1332395 w 1576226"/>
              <a:gd name="connsiteY9" fmla="*/ 1588006 h 1640228"/>
              <a:gd name="connsiteX10" fmla="*/ 1114682 w 1576226"/>
              <a:gd name="connsiteY10" fmla="*/ 1588006 h 1640228"/>
              <a:gd name="connsiteX11" fmla="*/ 1140793 w 1576226"/>
              <a:gd name="connsiteY11" fmla="*/ 1614117 h 1640228"/>
              <a:gd name="connsiteX12" fmla="*/ 1114682 w 1576226"/>
              <a:gd name="connsiteY12" fmla="*/ 1640228 h 1640228"/>
              <a:gd name="connsiteX13" fmla="*/ 1088571 w 1576226"/>
              <a:gd name="connsiteY13" fmla="*/ 1614117 h 1640228"/>
              <a:gd name="connsiteX14" fmla="*/ 1114682 w 1576226"/>
              <a:gd name="connsiteY14" fmla="*/ 1588006 h 1640228"/>
              <a:gd name="connsiteX15" fmla="*/ 896968 w 1576226"/>
              <a:gd name="connsiteY15" fmla="*/ 1588006 h 1640228"/>
              <a:gd name="connsiteX16" fmla="*/ 923079 w 1576226"/>
              <a:gd name="connsiteY16" fmla="*/ 1614117 h 1640228"/>
              <a:gd name="connsiteX17" fmla="*/ 896968 w 1576226"/>
              <a:gd name="connsiteY17" fmla="*/ 1640228 h 1640228"/>
              <a:gd name="connsiteX18" fmla="*/ 870857 w 1576226"/>
              <a:gd name="connsiteY18" fmla="*/ 1614117 h 1640228"/>
              <a:gd name="connsiteX19" fmla="*/ 896968 w 1576226"/>
              <a:gd name="connsiteY19" fmla="*/ 1588006 h 1640228"/>
              <a:gd name="connsiteX20" fmla="*/ 679253 w 1576226"/>
              <a:gd name="connsiteY20" fmla="*/ 1588006 h 1640228"/>
              <a:gd name="connsiteX21" fmla="*/ 705364 w 1576226"/>
              <a:gd name="connsiteY21" fmla="*/ 1614117 h 1640228"/>
              <a:gd name="connsiteX22" fmla="*/ 679253 w 1576226"/>
              <a:gd name="connsiteY22" fmla="*/ 1640228 h 1640228"/>
              <a:gd name="connsiteX23" fmla="*/ 653142 w 1576226"/>
              <a:gd name="connsiteY23" fmla="*/ 1614117 h 1640228"/>
              <a:gd name="connsiteX24" fmla="*/ 679253 w 1576226"/>
              <a:gd name="connsiteY24" fmla="*/ 1588006 h 1640228"/>
              <a:gd name="connsiteX25" fmla="*/ 461539 w 1576226"/>
              <a:gd name="connsiteY25" fmla="*/ 1588006 h 1640228"/>
              <a:gd name="connsiteX26" fmla="*/ 487650 w 1576226"/>
              <a:gd name="connsiteY26" fmla="*/ 1614117 h 1640228"/>
              <a:gd name="connsiteX27" fmla="*/ 461539 w 1576226"/>
              <a:gd name="connsiteY27" fmla="*/ 1640228 h 1640228"/>
              <a:gd name="connsiteX28" fmla="*/ 435428 w 1576226"/>
              <a:gd name="connsiteY28" fmla="*/ 1614117 h 1640228"/>
              <a:gd name="connsiteX29" fmla="*/ 461539 w 1576226"/>
              <a:gd name="connsiteY29" fmla="*/ 1588006 h 1640228"/>
              <a:gd name="connsiteX30" fmla="*/ 243825 w 1576226"/>
              <a:gd name="connsiteY30" fmla="*/ 1588006 h 1640228"/>
              <a:gd name="connsiteX31" fmla="*/ 269936 w 1576226"/>
              <a:gd name="connsiteY31" fmla="*/ 1614117 h 1640228"/>
              <a:gd name="connsiteX32" fmla="*/ 243825 w 1576226"/>
              <a:gd name="connsiteY32" fmla="*/ 1640228 h 1640228"/>
              <a:gd name="connsiteX33" fmla="*/ 217714 w 1576226"/>
              <a:gd name="connsiteY33" fmla="*/ 1614117 h 1640228"/>
              <a:gd name="connsiteX34" fmla="*/ 243825 w 1576226"/>
              <a:gd name="connsiteY34" fmla="*/ 1588006 h 1640228"/>
              <a:gd name="connsiteX35" fmla="*/ 26111 w 1576226"/>
              <a:gd name="connsiteY35" fmla="*/ 1588006 h 1640228"/>
              <a:gd name="connsiteX36" fmla="*/ 52222 w 1576226"/>
              <a:gd name="connsiteY36" fmla="*/ 1614117 h 1640228"/>
              <a:gd name="connsiteX37" fmla="*/ 26111 w 1576226"/>
              <a:gd name="connsiteY37" fmla="*/ 1640228 h 1640228"/>
              <a:gd name="connsiteX38" fmla="*/ 0 w 1576226"/>
              <a:gd name="connsiteY38" fmla="*/ 1614117 h 1640228"/>
              <a:gd name="connsiteX39" fmla="*/ 26111 w 1576226"/>
              <a:gd name="connsiteY39" fmla="*/ 1588006 h 1640228"/>
              <a:gd name="connsiteX40" fmla="*/ 1550110 w 1576226"/>
              <a:gd name="connsiteY40" fmla="*/ 1361148 h 1640228"/>
              <a:gd name="connsiteX41" fmla="*/ 1576221 w 1576226"/>
              <a:gd name="connsiteY41" fmla="*/ 1387259 h 1640228"/>
              <a:gd name="connsiteX42" fmla="*/ 1550110 w 1576226"/>
              <a:gd name="connsiteY42" fmla="*/ 1413370 h 1640228"/>
              <a:gd name="connsiteX43" fmla="*/ 1523999 w 1576226"/>
              <a:gd name="connsiteY43" fmla="*/ 1387259 h 1640228"/>
              <a:gd name="connsiteX44" fmla="*/ 1550110 w 1576226"/>
              <a:gd name="connsiteY44" fmla="*/ 1361148 h 1640228"/>
              <a:gd name="connsiteX45" fmla="*/ 1332396 w 1576226"/>
              <a:gd name="connsiteY45" fmla="*/ 1361148 h 1640228"/>
              <a:gd name="connsiteX46" fmla="*/ 1358507 w 1576226"/>
              <a:gd name="connsiteY46" fmla="*/ 1387259 h 1640228"/>
              <a:gd name="connsiteX47" fmla="*/ 1332396 w 1576226"/>
              <a:gd name="connsiteY47" fmla="*/ 1413370 h 1640228"/>
              <a:gd name="connsiteX48" fmla="*/ 1306285 w 1576226"/>
              <a:gd name="connsiteY48" fmla="*/ 1387259 h 1640228"/>
              <a:gd name="connsiteX49" fmla="*/ 1332396 w 1576226"/>
              <a:gd name="connsiteY49" fmla="*/ 1361148 h 1640228"/>
              <a:gd name="connsiteX50" fmla="*/ 1114683 w 1576226"/>
              <a:gd name="connsiteY50" fmla="*/ 1361148 h 1640228"/>
              <a:gd name="connsiteX51" fmla="*/ 1140794 w 1576226"/>
              <a:gd name="connsiteY51" fmla="*/ 1387259 h 1640228"/>
              <a:gd name="connsiteX52" fmla="*/ 1114683 w 1576226"/>
              <a:gd name="connsiteY52" fmla="*/ 1413370 h 1640228"/>
              <a:gd name="connsiteX53" fmla="*/ 1088572 w 1576226"/>
              <a:gd name="connsiteY53" fmla="*/ 1387259 h 1640228"/>
              <a:gd name="connsiteX54" fmla="*/ 1114683 w 1576226"/>
              <a:gd name="connsiteY54" fmla="*/ 1361148 h 1640228"/>
              <a:gd name="connsiteX55" fmla="*/ 896969 w 1576226"/>
              <a:gd name="connsiteY55" fmla="*/ 1361148 h 1640228"/>
              <a:gd name="connsiteX56" fmla="*/ 923080 w 1576226"/>
              <a:gd name="connsiteY56" fmla="*/ 1387259 h 1640228"/>
              <a:gd name="connsiteX57" fmla="*/ 896969 w 1576226"/>
              <a:gd name="connsiteY57" fmla="*/ 1413370 h 1640228"/>
              <a:gd name="connsiteX58" fmla="*/ 870858 w 1576226"/>
              <a:gd name="connsiteY58" fmla="*/ 1387259 h 1640228"/>
              <a:gd name="connsiteX59" fmla="*/ 896969 w 1576226"/>
              <a:gd name="connsiteY59" fmla="*/ 1361148 h 1640228"/>
              <a:gd name="connsiteX60" fmla="*/ 679254 w 1576226"/>
              <a:gd name="connsiteY60" fmla="*/ 1361148 h 1640228"/>
              <a:gd name="connsiteX61" fmla="*/ 705365 w 1576226"/>
              <a:gd name="connsiteY61" fmla="*/ 1387259 h 1640228"/>
              <a:gd name="connsiteX62" fmla="*/ 679254 w 1576226"/>
              <a:gd name="connsiteY62" fmla="*/ 1413370 h 1640228"/>
              <a:gd name="connsiteX63" fmla="*/ 653143 w 1576226"/>
              <a:gd name="connsiteY63" fmla="*/ 1387259 h 1640228"/>
              <a:gd name="connsiteX64" fmla="*/ 679254 w 1576226"/>
              <a:gd name="connsiteY64" fmla="*/ 1361148 h 1640228"/>
              <a:gd name="connsiteX65" fmla="*/ 461540 w 1576226"/>
              <a:gd name="connsiteY65" fmla="*/ 1361148 h 1640228"/>
              <a:gd name="connsiteX66" fmla="*/ 487651 w 1576226"/>
              <a:gd name="connsiteY66" fmla="*/ 1387259 h 1640228"/>
              <a:gd name="connsiteX67" fmla="*/ 461540 w 1576226"/>
              <a:gd name="connsiteY67" fmla="*/ 1413370 h 1640228"/>
              <a:gd name="connsiteX68" fmla="*/ 435429 w 1576226"/>
              <a:gd name="connsiteY68" fmla="*/ 1387259 h 1640228"/>
              <a:gd name="connsiteX69" fmla="*/ 461540 w 1576226"/>
              <a:gd name="connsiteY69" fmla="*/ 1361148 h 1640228"/>
              <a:gd name="connsiteX70" fmla="*/ 243826 w 1576226"/>
              <a:gd name="connsiteY70" fmla="*/ 1361148 h 1640228"/>
              <a:gd name="connsiteX71" fmla="*/ 269937 w 1576226"/>
              <a:gd name="connsiteY71" fmla="*/ 1387259 h 1640228"/>
              <a:gd name="connsiteX72" fmla="*/ 243826 w 1576226"/>
              <a:gd name="connsiteY72" fmla="*/ 1413370 h 1640228"/>
              <a:gd name="connsiteX73" fmla="*/ 217715 w 1576226"/>
              <a:gd name="connsiteY73" fmla="*/ 1387259 h 1640228"/>
              <a:gd name="connsiteX74" fmla="*/ 243826 w 1576226"/>
              <a:gd name="connsiteY74" fmla="*/ 1361148 h 1640228"/>
              <a:gd name="connsiteX75" fmla="*/ 26112 w 1576226"/>
              <a:gd name="connsiteY75" fmla="*/ 1361148 h 1640228"/>
              <a:gd name="connsiteX76" fmla="*/ 52223 w 1576226"/>
              <a:gd name="connsiteY76" fmla="*/ 1387259 h 1640228"/>
              <a:gd name="connsiteX77" fmla="*/ 26112 w 1576226"/>
              <a:gd name="connsiteY77" fmla="*/ 1413370 h 1640228"/>
              <a:gd name="connsiteX78" fmla="*/ 1 w 1576226"/>
              <a:gd name="connsiteY78" fmla="*/ 1387259 h 1640228"/>
              <a:gd name="connsiteX79" fmla="*/ 26112 w 1576226"/>
              <a:gd name="connsiteY79" fmla="*/ 1361148 h 1640228"/>
              <a:gd name="connsiteX80" fmla="*/ 1550111 w 1576226"/>
              <a:gd name="connsiteY80" fmla="*/ 1134290 h 1640228"/>
              <a:gd name="connsiteX81" fmla="*/ 1576222 w 1576226"/>
              <a:gd name="connsiteY81" fmla="*/ 1160401 h 1640228"/>
              <a:gd name="connsiteX82" fmla="*/ 1550111 w 1576226"/>
              <a:gd name="connsiteY82" fmla="*/ 1186512 h 1640228"/>
              <a:gd name="connsiteX83" fmla="*/ 1524000 w 1576226"/>
              <a:gd name="connsiteY83" fmla="*/ 1160401 h 1640228"/>
              <a:gd name="connsiteX84" fmla="*/ 1550111 w 1576226"/>
              <a:gd name="connsiteY84" fmla="*/ 1134290 h 1640228"/>
              <a:gd name="connsiteX85" fmla="*/ 1332397 w 1576226"/>
              <a:gd name="connsiteY85" fmla="*/ 1134290 h 1640228"/>
              <a:gd name="connsiteX86" fmla="*/ 1358508 w 1576226"/>
              <a:gd name="connsiteY86" fmla="*/ 1160401 h 1640228"/>
              <a:gd name="connsiteX87" fmla="*/ 1332397 w 1576226"/>
              <a:gd name="connsiteY87" fmla="*/ 1186512 h 1640228"/>
              <a:gd name="connsiteX88" fmla="*/ 1306286 w 1576226"/>
              <a:gd name="connsiteY88" fmla="*/ 1160401 h 1640228"/>
              <a:gd name="connsiteX89" fmla="*/ 1332397 w 1576226"/>
              <a:gd name="connsiteY89" fmla="*/ 1134290 h 1640228"/>
              <a:gd name="connsiteX90" fmla="*/ 1114684 w 1576226"/>
              <a:gd name="connsiteY90" fmla="*/ 1134290 h 1640228"/>
              <a:gd name="connsiteX91" fmla="*/ 1140795 w 1576226"/>
              <a:gd name="connsiteY91" fmla="*/ 1160401 h 1640228"/>
              <a:gd name="connsiteX92" fmla="*/ 1114684 w 1576226"/>
              <a:gd name="connsiteY92" fmla="*/ 1186512 h 1640228"/>
              <a:gd name="connsiteX93" fmla="*/ 1088573 w 1576226"/>
              <a:gd name="connsiteY93" fmla="*/ 1160401 h 1640228"/>
              <a:gd name="connsiteX94" fmla="*/ 1114684 w 1576226"/>
              <a:gd name="connsiteY94" fmla="*/ 1134290 h 1640228"/>
              <a:gd name="connsiteX95" fmla="*/ 896970 w 1576226"/>
              <a:gd name="connsiteY95" fmla="*/ 1134290 h 1640228"/>
              <a:gd name="connsiteX96" fmla="*/ 923081 w 1576226"/>
              <a:gd name="connsiteY96" fmla="*/ 1160401 h 1640228"/>
              <a:gd name="connsiteX97" fmla="*/ 896970 w 1576226"/>
              <a:gd name="connsiteY97" fmla="*/ 1186512 h 1640228"/>
              <a:gd name="connsiteX98" fmla="*/ 870859 w 1576226"/>
              <a:gd name="connsiteY98" fmla="*/ 1160401 h 1640228"/>
              <a:gd name="connsiteX99" fmla="*/ 896970 w 1576226"/>
              <a:gd name="connsiteY99" fmla="*/ 1134290 h 1640228"/>
              <a:gd name="connsiteX100" fmla="*/ 679255 w 1576226"/>
              <a:gd name="connsiteY100" fmla="*/ 1134290 h 1640228"/>
              <a:gd name="connsiteX101" fmla="*/ 705366 w 1576226"/>
              <a:gd name="connsiteY101" fmla="*/ 1160401 h 1640228"/>
              <a:gd name="connsiteX102" fmla="*/ 679255 w 1576226"/>
              <a:gd name="connsiteY102" fmla="*/ 1186512 h 1640228"/>
              <a:gd name="connsiteX103" fmla="*/ 653144 w 1576226"/>
              <a:gd name="connsiteY103" fmla="*/ 1160401 h 1640228"/>
              <a:gd name="connsiteX104" fmla="*/ 679255 w 1576226"/>
              <a:gd name="connsiteY104" fmla="*/ 1134290 h 1640228"/>
              <a:gd name="connsiteX105" fmla="*/ 461541 w 1576226"/>
              <a:gd name="connsiteY105" fmla="*/ 1134290 h 1640228"/>
              <a:gd name="connsiteX106" fmla="*/ 487652 w 1576226"/>
              <a:gd name="connsiteY106" fmla="*/ 1160401 h 1640228"/>
              <a:gd name="connsiteX107" fmla="*/ 461541 w 1576226"/>
              <a:gd name="connsiteY107" fmla="*/ 1186512 h 1640228"/>
              <a:gd name="connsiteX108" fmla="*/ 435430 w 1576226"/>
              <a:gd name="connsiteY108" fmla="*/ 1160401 h 1640228"/>
              <a:gd name="connsiteX109" fmla="*/ 461541 w 1576226"/>
              <a:gd name="connsiteY109" fmla="*/ 1134290 h 1640228"/>
              <a:gd name="connsiteX110" fmla="*/ 243827 w 1576226"/>
              <a:gd name="connsiteY110" fmla="*/ 1134290 h 1640228"/>
              <a:gd name="connsiteX111" fmla="*/ 269938 w 1576226"/>
              <a:gd name="connsiteY111" fmla="*/ 1160401 h 1640228"/>
              <a:gd name="connsiteX112" fmla="*/ 243827 w 1576226"/>
              <a:gd name="connsiteY112" fmla="*/ 1186512 h 1640228"/>
              <a:gd name="connsiteX113" fmla="*/ 217716 w 1576226"/>
              <a:gd name="connsiteY113" fmla="*/ 1160401 h 1640228"/>
              <a:gd name="connsiteX114" fmla="*/ 243827 w 1576226"/>
              <a:gd name="connsiteY114" fmla="*/ 1134290 h 1640228"/>
              <a:gd name="connsiteX115" fmla="*/ 26113 w 1576226"/>
              <a:gd name="connsiteY115" fmla="*/ 1134290 h 1640228"/>
              <a:gd name="connsiteX116" fmla="*/ 52224 w 1576226"/>
              <a:gd name="connsiteY116" fmla="*/ 1160401 h 1640228"/>
              <a:gd name="connsiteX117" fmla="*/ 26113 w 1576226"/>
              <a:gd name="connsiteY117" fmla="*/ 1186512 h 1640228"/>
              <a:gd name="connsiteX118" fmla="*/ 2 w 1576226"/>
              <a:gd name="connsiteY118" fmla="*/ 1160401 h 1640228"/>
              <a:gd name="connsiteX119" fmla="*/ 26113 w 1576226"/>
              <a:gd name="connsiteY119" fmla="*/ 1134290 h 1640228"/>
              <a:gd name="connsiteX120" fmla="*/ 1550112 w 1576226"/>
              <a:gd name="connsiteY120" fmla="*/ 907432 h 1640228"/>
              <a:gd name="connsiteX121" fmla="*/ 1576223 w 1576226"/>
              <a:gd name="connsiteY121" fmla="*/ 933543 h 1640228"/>
              <a:gd name="connsiteX122" fmla="*/ 1550112 w 1576226"/>
              <a:gd name="connsiteY122" fmla="*/ 959654 h 1640228"/>
              <a:gd name="connsiteX123" fmla="*/ 1524001 w 1576226"/>
              <a:gd name="connsiteY123" fmla="*/ 933543 h 1640228"/>
              <a:gd name="connsiteX124" fmla="*/ 1550112 w 1576226"/>
              <a:gd name="connsiteY124" fmla="*/ 907432 h 1640228"/>
              <a:gd name="connsiteX125" fmla="*/ 1332398 w 1576226"/>
              <a:gd name="connsiteY125" fmla="*/ 907432 h 1640228"/>
              <a:gd name="connsiteX126" fmla="*/ 1358509 w 1576226"/>
              <a:gd name="connsiteY126" fmla="*/ 933543 h 1640228"/>
              <a:gd name="connsiteX127" fmla="*/ 1332398 w 1576226"/>
              <a:gd name="connsiteY127" fmla="*/ 959654 h 1640228"/>
              <a:gd name="connsiteX128" fmla="*/ 1306287 w 1576226"/>
              <a:gd name="connsiteY128" fmla="*/ 933543 h 1640228"/>
              <a:gd name="connsiteX129" fmla="*/ 1332398 w 1576226"/>
              <a:gd name="connsiteY129" fmla="*/ 907432 h 1640228"/>
              <a:gd name="connsiteX130" fmla="*/ 1114685 w 1576226"/>
              <a:gd name="connsiteY130" fmla="*/ 907432 h 1640228"/>
              <a:gd name="connsiteX131" fmla="*/ 1140796 w 1576226"/>
              <a:gd name="connsiteY131" fmla="*/ 933543 h 1640228"/>
              <a:gd name="connsiteX132" fmla="*/ 1114685 w 1576226"/>
              <a:gd name="connsiteY132" fmla="*/ 959654 h 1640228"/>
              <a:gd name="connsiteX133" fmla="*/ 1088574 w 1576226"/>
              <a:gd name="connsiteY133" fmla="*/ 933543 h 1640228"/>
              <a:gd name="connsiteX134" fmla="*/ 1114685 w 1576226"/>
              <a:gd name="connsiteY134" fmla="*/ 907432 h 1640228"/>
              <a:gd name="connsiteX135" fmla="*/ 896971 w 1576226"/>
              <a:gd name="connsiteY135" fmla="*/ 907432 h 1640228"/>
              <a:gd name="connsiteX136" fmla="*/ 923082 w 1576226"/>
              <a:gd name="connsiteY136" fmla="*/ 933543 h 1640228"/>
              <a:gd name="connsiteX137" fmla="*/ 896971 w 1576226"/>
              <a:gd name="connsiteY137" fmla="*/ 959654 h 1640228"/>
              <a:gd name="connsiteX138" fmla="*/ 870860 w 1576226"/>
              <a:gd name="connsiteY138" fmla="*/ 933543 h 1640228"/>
              <a:gd name="connsiteX139" fmla="*/ 896971 w 1576226"/>
              <a:gd name="connsiteY139" fmla="*/ 907432 h 1640228"/>
              <a:gd name="connsiteX140" fmla="*/ 679256 w 1576226"/>
              <a:gd name="connsiteY140" fmla="*/ 907432 h 1640228"/>
              <a:gd name="connsiteX141" fmla="*/ 705367 w 1576226"/>
              <a:gd name="connsiteY141" fmla="*/ 933543 h 1640228"/>
              <a:gd name="connsiteX142" fmla="*/ 679256 w 1576226"/>
              <a:gd name="connsiteY142" fmla="*/ 959654 h 1640228"/>
              <a:gd name="connsiteX143" fmla="*/ 653145 w 1576226"/>
              <a:gd name="connsiteY143" fmla="*/ 933543 h 1640228"/>
              <a:gd name="connsiteX144" fmla="*/ 679256 w 1576226"/>
              <a:gd name="connsiteY144" fmla="*/ 907432 h 1640228"/>
              <a:gd name="connsiteX145" fmla="*/ 461542 w 1576226"/>
              <a:gd name="connsiteY145" fmla="*/ 907432 h 1640228"/>
              <a:gd name="connsiteX146" fmla="*/ 487653 w 1576226"/>
              <a:gd name="connsiteY146" fmla="*/ 933543 h 1640228"/>
              <a:gd name="connsiteX147" fmla="*/ 461542 w 1576226"/>
              <a:gd name="connsiteY147" fmla="*/ 959654 h 1640228"/>
              <a:gd name="connsiteX148" fmla="*/ 435431 w 1576226"/>
              <a:gd name="connsiteY148" fmla="*/ 933543 h 1640228"/>
              <a:gd name="connsiteX149" fmla="*/ 461542 w 1576226"/>
              <a:gd name="connsiteY149" fmla="*/ 907432 h 1640228"/>
              <a:gd name="connsiteX150" fmla="*/ 243828 w 1576226"/>
              <a:gd name="connsiteY150" fmla="*/ 907432 h 1640228"/>
              <a:gd name="connsiteX151" fmla="*/ 269939 w 1576226"/>
              <a:gd name="connsiteY151" fmla="*/ 933543 h 1640228"/>
              <a:gd name="connsiteX152" fmla="*/ 243828 w 1576226"/>
              <a:gd name="connsiteY152" fmla="*/ 959654 h 1640228"/>
              <a:gd name="connsiteX153" fmla="*/ 217717 w 1576226"/>
              <a:gd name="connsiteY153" fmla="*/ 933543 h 1640228"/>
              <a:gd name="connsiteX154" fmla="*/ 243828 w 1576226"/>
              <a:gd name="connsiteY154" fmla="*/ 907432 h 1640228"/>
              <a:gd name="connsiteX155" fmla="*/ 26114 w 1576226"/>
              <a:gd name="connsiteY155" fmla="*/ 907432 h 1640228"/>
              <a:gd name="connsiteX156" fmla="*/ 52225 w 1576226"/>
              <a:gd name="connsiteY156" fmla="*/ 933543 h 1640228"/>
              <a:gd name="connsiteX157" fmla="*/ 26114 w 1576226"/>
              <a:gd name="connsiteY157" fmla="*/ 959654 h 1640228"/>
              <a:gd name="connsiteX158" fmla="*/ 3 w 1576226"/>
              <a:gd name="connsiteY158" fmla="*/ 933543 h 1640228"/>
              <a:gd name="connsiteX159" fmla="*/ 26114 w 1576226"/>
              <a:gd name="connsiteY159" fmla="*/ 907432 h 1640228"/>
              <a:gd name="connsiteX160" fmla="*/ 1550113 w 1576226"/>
              <a:gd name="connsiteY160" fmla="*/ 680574 h 1640228"/>
              <a:gd name="connsiteX161" fmla="*/ 1576224 w 1576226"/>
              <a:gd name="connsiteY161" fmla="*/ 706685 h 1640228"/>
              <a:gd name="connsiteX162" fmla="*/ 1550113 w 1576226"/>
              <a:gd name="connsiteY162" fmla="*/ 732796 h 1640228"/>
              <a:gd name="connsiteX163" fmla="*/ 1524002 w 1576226"/>
              <a:gd name="connsiteY163" fmla="*/ 706685 h 1640228"/>
              <a:gd name="connsiteX164" fmla="*/ 1550113 w 1576226"/>
              <a:gd name="connsiteY164" fmla="*/ 680574 h 1640228"/>
              <a:gd name="connsiteX165" fmla="*/ 1332399 w 1576226"/>
              <a:gd name="connsiteY165" fmla="*/ 680574 h 1640228"/>
              <a:gd name="connsiteX166" fmla="*/ 1358510 w 1576226"/>
              <a:gd name="connsiteY166" fmla="*/ 706685 h 1640228"/>
              <a:gd name="connsiteX167" fmla="*/ 1332399 w 1576226"/>
              <a:gd name="connsiteY167" fmla="*/ 732796 h 1640228"/>
              <a:gd name="connsiteX168" fmla="*/ 1306288 w 1576226"/>
              <a:gd name="connsiteY168" fmla="*/ 706685 h 1640228"/>
              <a:gd name="connsiteX169" fmla="*/ 1332399 w 1576226"/>
              <a:gd name="connsiteY169" fmla="*/ 680574 h 1640228"/>
              <a:gd name="connsiteX170" fmla="*/ 1114686 w 1576226"/>
              <a:gd name="connsiteY170" fmla="*/ 680574 h 1640228"/>
              <a:gd name="connsiteX171" fmla="*/ 1140797 w 1576226"/>
              <a:gd name="connsiteY171" fmla="*/ 706685 h 1640228"/>
              <a:gd name="connsiteX172" fmla="*/ 1114686 w 1576226"/>
              <a:gd name="connsiteY172" fmla="*/ 732796 h 1640228"/>
              <a:gd name="connsiteX173" fmla="*/ 1088575 w 1576226"/>
              <a:gd name="connsiteY173" fmla="*/ 706685 h 1640228"/>
              <a:gd name="connsiteX174" fmla="*/ 1114686 w 1576226"/>
              <a:gd name="connsiteY174" fmla="*/ 680574 h 1640228"/>
              <a:gd name="connsiteX175" fmla="*/ 896972 w 1576226"/>
              <a:gd name="connsiteY175" fmla="*/ 680574 h 1640228"/>
              <a:gd name="connsiteX176" fmla="*/ 923083 w 1576226"/>
              <a:gd name="connsiteY176" fmla="*/ 706685 h 1640228"/>
              <a:gd name="connsiteX177" fmla="*/ 896972 w 1576226"/>
              <a:gd name="connsiteY177" fmla="*/ 732796 h 1640228"/>
              <a:gd name="connsiteX178" fmla="*/ 870861 w 1576226"/>
              <a:gd name="connsiteY178" fmla="*/ 706685 h 1640228"/>
              <a:gd name="connsiteX179" fmla="*/ 896972 w 1576226"/>
              <a:gd name="connsiteY179" fmla="*/ 680574 h 1640228"/>
              <a:gd name="connsiteX180" fmla="*/ 679257 w 1576226"/>
              <a:gd name="connsiteY180" fmla="*/ 680574 h 1640228"/>
              <a:gd name="connsiteX181" fmla="*/ 705368 w 1576226"/>
              <a:gd name="connsiteY181" fmla="*/ 706685 h 1640228"/>
              <a:gd name="connsiteX182" fmla="*/ 679257 w 1576226"/>
              <a:gd name="connsiteY182" fmla="*/ 732796 h 1640228"/>
              <a:gd name="connsiteX183" fmla="*/ 653146 w 1576226"/>
              <a:gd name="connsiteY183" fmla="*/ 706685 h 1640228"/>
              <a:gd name="connsiteX184" fmla="*/ 679257 w 1576226"/>
              <a:gd name="connsiteY184" fmla="*/ 680574 h 1640228"/>
              <a:gd name="connsiteX185" fmla="*/ 461543 w 1576226"/>
              <a:gd name="connsiteY185" fmla="*/ 680574 h 1640228"/>
              <a:gd name="connsiteX186" fmla="*/ 487654 w 1576226"/>
              <a:gd name="connsiteY186" fmla="*/ 706685 h 1640228"/>
              <a:gd name="connsiteX187" fmla="*/ 461543 w 1576226"/>
              <a:gd name="connsiteY187" fmla="*/ 732796 h 1640228"/>
              <a:gd name="connsiteX188" fmla="*/ 435432 w 1576226"/>
              <a:gd name="connsiteY188" fmla="*/ 706685 h 1640228"/>
              <a:gd name="connsiteX189" fmla="*/ 461543 w 1576226"/>
              <a:gd name="connsiteY189" fmla="*/ 680574 h 1640228"/>
              <a:gd name="connsiteX190" fmla="*/ 243829 w 1576226"/>
              <a:gd name="connsiteY190" fmla="*/ 680574 h 1640228"/>
              <a:gd name="connsiteX191" fmla="*/ 269940 w 1576226"/>
              <a:gd name="connsiteY191" fmla="*/ 706685 h 1640228"/>
              <a:gd name="connsiteX192" fmla="*/ 243829 w 1576226"/>
              <a:gd name="connsiteY192" fmla="*/ 732796 h 1640228"/>
              <a:gd name="connsiteX193" fmla="*/ 217718 w 1576226"/>
              <a:gd name="connsiteY193" fmla="*/ 706685 h 1640228"/>
              <a:gd name="connsiteX194" fmla="*/ 243829 w 1576226"/>
              <a:gd name="connsiteY194" fmla="*/ 680574 h 1640228"/>
              <a:gd name="connsiteX195" fmla="*/ 26115 w 1576226"/>
              <a:gd name="connsiteY195" fmla="*/ 680574 h 1640228"/>
              <a:gd name="connsiteX196" fmla="*/ 52226 w 1576226"/>
              <a:gd name="connsiteY196" fmla="*/ 706685 h 1640228"/>
              <a:gd name="connsiteX197" fmla="*/ 26115 w 1576226"/>
              <a:gd name="connsiteY197" fmla="*/ 732796 h 1640228"/>
              <a:gd name="connsiteX198" fmla="*/ 4 w 1576226"/>
              <a:gd name="connsiteY198" fmla="*/ 706685 h 1640228"/>
              <a:gd name="connsiteX199" fmla="*/ 26115 w 1576226"/>
              <a:gd name="connsiteY199" fmla="*/ 680574 h 1640228"/>
              <a:gd name="connsiteX200" fmla="*/ 26116 w 1576226"/>
              <a:gd name="connsiteY200" fmla="*/ 453717 h 1640228"/>
              <a:gd name="connsiteX201" fmla="*/ 52227 w 1576226"/>
              <a:gd name="connsiteY201" fmla="*/ 479827 h 1640228"/>
              <a:gd name="connsiteX202" fmla="*/ 26116 w 1576226"/>
              <a:gd name="connsiteY202" fmla="*/ 505939 h 1640228"/>
              <a:gd name="connsiteX203" fmla="*/ 5 w 1576226"/>
              <a:gd name="connsiteY203" fmla="*/ 479827 h 1640228"/>
              <a:gd name="connsiteX204" fmla="*/ 26116 w 1576226"/>
              <a:gd name="connsiteY204" fmla="*/ 453717 h 1640228"/>
              <a:gd name="connsiteX205" fmla="*/ 243830 w 1576226"/>
              <a:gd name="connsiteY205" fmla="*/ 453717 h 1640228"/>
              <a:gd name="connsiteX206" fmla="*/ 269941 w 1576226"/>
              <a:gd name="connsiteY206" fmla="*/ 479827 h 1640228"/>
              <a:gd name="connsiteX207" fmla="*/ 243830 w 1576226"/>
              <a:gd name="connsiteY207" fmla="*/ 505939 h 1640228"/>
              <a:gd name="connsiteX208" fmla="*/ 217719 w 1576226"/>
              <a:gd name="connsiteY208" fmla="*/ 479827 h 1640228"/>
              <a:gd name="connsiteX209" fmla="*/ 243830 w 1576226"/>
              <a:gd name="connsiteY209" fmla="*/ 453717 h 1640228"/>
              <a:gd name="connsiteX210" fmla="*/ 461544 w 1576226"/>
              <a:gd name="connsiteY210" fmla="*/ 453717 h 1640228"/>
              <a:gd name="connsiteX211" fmla="*/ 487655 w 1576226"/>
              <a:gd name="connsiteY211" fmla="*/ 479827 h 1640228"/>
              <a:gd name="connsiteX212" fmla="*/ 461544 w 1576226"/>
              <a:gd name="connsiteY212" fmla="*/ 505939 h 1640228"/>
              <a:gd name="connsiteX213" fmla="*/ 435433 w 1576226"/>
              <a:gd name="connsiteY213" fmla="*/ 479827 h 1640228"/>
              <a:gd name="connsiteX214" fmla="*/ 461544 w 1576226"/>
              <a:gd name="connsiteY214" fmla="*/ 453717 h 1640228"/>
              <a:gd name="connsiteX215" fmla="*/ 679258 w 1576226"/>
              <a:gd name="connsiteY215" fmla="*/ 453717 h 1640228"/>
              <a:gd name="connsiteX216" fmla="*/ 705369 w 1576226"/>
              <a:gd name="connsiteY216" fmla="*/ 479827 h 1640228"/>
              <a:gd name="connsiteX217" fmla="*/ 679258 w 1576226"/>
              <a:gd name="connsiteY217" fmla="*/ 505939 h 1640228"/>
              <a:gd name="connsiteX218" fmla="*/ 653147 w 1576226"/>
              <a:gd name="connsiteY218" fmla="*/ 479827 h 1640228"/>
              <a:gd name="connsiteX219" fmla="*/ 679258 w 1576226"/>
              <a:gd name="connsiteY219" fmla="*/ 453717 h 1640228"/>
              <a:gd name="connsiteX220" fmla="*/ 896973 w 1576226"/>
              <a:gd name="connsiteY220" fmla="*/ 453717 h 1640228"/>
              <a:gd name="connsiteX221" fmla="*/ 923084 w 1576226"/>
              <a:gd name="connsiteY221" fmla="*/ 479827 h 1640228"/>
              <a:gd name="connsiteX222" fmla="*/ 896973 w 1576226"/>
              <a:gd name="connsiteY222" fmla="*/ 505939 h 1640228"/>
              <a:gd name="connsiteX223" fmla="*/ 870862 w 1576226"/>
              <a:gd name="connsiteY223" fmla="*/ 479827 h 1640228"/>
              <a:gd name="connsiteX224" fmla="*/ 896973 w 1576226"/>
              <a:gd name="connsiteY224" fmla="*/ 453717 h 1640228"/>
              <a:gd name="connsiteX225" fmla="*/ 1114687 w 1576226"/>
              <a:gd name="connsiteY225" fmla="*/ 453717 h 1640228"/>
              <a:gd name="connsiteX226" fmla="*/ 1140798 w 1576226"/>
              <a:gd name="connsiteY226" fmla="*/ 479827 h 1640228"/>
              <a:gd name="connsiteX227" fmla="*/ 1114687 w 1576226"/>
              <a:gd name="connsiteY227" fmla="*/ 505938 h 1640228"/>
              <a:gd name="connsiteX228" fmla="*/ 1088576 w 1576226"/>
              <a:gd name="connsiteY228" fmla="*/ 479827 h 1640228"/>
              <a:gd name="connsiteX229" fmla="*/ 1114687 w 1576226"/>
              <a:gd name="connsiteY229" fmla="*/ 453717 h 1640228"/>
              <a:gd name="connsiteX230" fmla="*/ 1332400 w 1576226"/>
              <a:gd name="connsiteY230" fmla="*/ 453716 h 1640228"/>
              <a:gd name="connsiteX231" fmla="*/ 1358511 w 1576226"/>
              <a:gd name="connsiteY231" fmla="*/ 479827 h 1640228"/>
              <a:gd name="connsiteX232" fmla="*/ 1332400 w 1576226"/>
              <a:gd name="connsiteY232" fmla="*/ 505938 h 1640228"/>
              <a:gd name="connsiteX233" fmla="*/ 1306289 w 1576226"/>
              <a:gd name="connsiteY233" fmla="*/ 479827 h 1640228"/>
              <a:gd name="connsiteX234" fmla="*/ 1332400 w 1576226"/>
              <a:gd name="connsiteY234" fmla="*/ 453716 h 1640228"/>
              <a:gd name="connsiteX235" fmla="*/ 1550114 w 1576226"/>
              <a:gd name="connsiteY235" fmla="*/ 453716 h 1640228"/>
              <a:gd name="connsiteX236" fmla="*/ 1576225 w 1576226"/>
              <a:gd name="connsiteY236" fmla="*/ 479827 h 1640228"/>
              <a:gd name="connsiteX237" fmla="*/ 1550114 w 1576226"/>
              <a:gd name="connsiteY237" fmla="*/ 505938 h 1640228"/>
              <a:gd name="connsiteX238" fmla="*/ 1524003 w 1576226"/>
              <a:gd name="connsiteY238" fmla="*/ 479827 h 1640228"/>
              <a:gd name="connsiteX239" fmla="*/ 1550114 w 1576226"/>
              <a:gd name="connsiteY239" fmla="*/ 453716 h 1640228"/>
              <a:gd name="connsiteX240" fmla="*/ 1114688 w 1576226"/>
              <a:gd name="connsiteY240" fmla="*/ 226858 h 1640228"/>
              <a:gd name="connsiteX241" fmla="*/ 1140799 w 1576226"/>
              <a:gd name="connsiteY241" fmla="*/ 252969 h 1640228"/>
              <a:gd name="connsiteX242" fmla="*/ 1114688 w 1576226"/>
              <a:gd name="connsiteY242" fmla="*/ 279080 h 1640228"/>
              <a:gd name="connsiteX243" fmla="*/ 1088577 w 1576226"/>
              <a:gd name="connsiteY243" fmla="*/ 252969 h 1640228"/>
              <a:gd name="connsiteX244" fmla="*/ 1114688 w 1576226"/>
              <a:gd name="connsiteY244" fmla="*/ 226858 h 1640228"/>
              <a:gd name="connsiteX245" fmla="*/ 896974 w 1576226"/>
              <a:gd name="connsiteY245" fmla="*/ 226858 h 1640228"/>
              <a:gd name="connsiteX246" fmla="*/ 923085 w 1576226"/>
              <a:gd name="connsiteY246" fmla="*/ 252969 h 1640228"/>
              <a:gd name="connsiteX247" fmla="*/ 896974 w 1576226"/>
              <a:gd name="connsiteY247" fmla="*/ 279080 h 1640228"/>
              <a:gd name="connsiteX248" fmla="*/ 870863 w 1576226"/>
              <a:gd name="connsiteY248" fmla="*/ 252969 h 1640228"/>
              <a:gd name="connsiteX249" fmla="*/ 896974 w 1576226"/>
              <a:gd name="connsiteY249" fmla="*/ 226858 h 1640228"/>
              <a:gd name="connsiteX250" fmla="*/ 679259 w 1576226"/>
              <a:gd name="connsiteY250" fmla="*/ 226858 h 1640228"/>
              <a:gd name="connsiteX251" fmla="*/ 705370 w 1576226"/>
              <a:gd name="connsiteY251" fmla="*/ 252970 h 1640228"/>
              <a:gd name="connsiteX252" fmla="*/ 679259 w 1576226"/>
              <a:gd name="connsiteY252" fmla="*/ 279080 h 1640228"/>
              <a:gd name="connsiteX253" fmla="*/ 653148 w 1576226"/>
              <a:gd name="connsiteY253" fmla="*/ 252970 h 1640228"/>
              <a:gd name="connsiteX254" fmla="*/ 679259 w 1576226"/>
              <a:gd name="connsiteY254" fmla="*/ 226858 h 1640228"/>
              <a:gd name="connsiteX255" fmla="*/ 461545 w 1576226"/>
              <a:gd name="connsiteY255" fmla="*/ 226858 h 1640228"/>
              <a:gd name="connsiteX256" fmla="*/ 487656 w 1576226"/>
              <a:gd name="connsiteY256" fmla="*/ 252970 h 1640228"/>
              <a:gd name="connsiteX257" fmla="*/ 461545 w 1576226"/>
              <a:gd name="connsiteY257" fmla="*/ 279081 h 1640228"/>
              <a:gd name="connsiteX258" fmla="*/ 435434 w 1576226"/>
              <a:gd name="connsiteY258" fmla="*/ 252970 h 1640228"/>
              <a:gd name="connsiteX259" fmla="*/ 461545 w 1576226"/>
              <a:gd name="connsiteY259" fmla="*/ 226858 h 1640228"/>
              <a:gd name="connsiteX260" fmla="*/ 243831 w 1576226"/>
              <a:gd name="connsiteY260" fmla="*/ 226858 h 1640228"/>
              <a:gd name="connsiteX261" fmla="*/ 269942 w 1576226"/>
              <a:gd name="connsiteY261" fmla="*/ 252970 h 1640228"/>
              <a:gd name="connsiteX262" fmla="*/ 243831 w 1576226"/>
              <a:gd name="connsiteY262" fmla="*/ 279081 h 1640228"/>
              <a:gd name="connsiteX263" fmla="*/ 217720 w 1576226"/>
              <a:gd name="connsiteY263" fmla="*/ 252970 h 1640228"/>
              <a:gd name="connsiteX264" fmla="*/ 243831 w 1576226"/>
              <a:gd name="connsiteY264" fmla="*/ 226858 h 1640228"/>
              <a:gd name="connsiteX265" fmla="*/ 26117 w 1576226"/>
              <a:gd name="connsiteY265" fmla="*/ 226858 h 1640228"/>
              <a:gd name="connsiteX266" fmla="*/ 52228 w 1576226"/>
              <a:gd name="connsiteY266" fmla="*/ 252970 h 1640228"/>
              <a:gd name="connsiteX267" fmla="*/ 26117 w 1576226"/>
              <a:gd name="connsiteY267" fmla="*/ 279081 h 1640228"/>
              <a:gd name="connsiteX268" fmla="*/ 6 w 1576226"/>
              <a:gd name="connsiteY268" fmla="*/ 252970 h 1640228"/>
              <a:gd name="connsiteX269" fmla="*/ 26117 w 1576226"/>
              <a:gd name="connsiteY269" fmla="*/ 226858 h 1640228"/>
              <a:gd name="connsiteX270" fmla="*/ 1332401 w 1576226"/>
              <a:gd name="connsiteY270" fmla="*/ 226858 h 1640228"/>
              <a:gd name="connsiteX271" fmla="*/ 1358512 w 1576226"/>
              <a:gd name="connsiteY271" fmla="*/ 252969 h 1640228"/>
              <a:gd name="connsiteX272" fmla="*/ 1332401 w 1576226"/>
              <a:gd name="connsiteY272" fmla="*/ 279080 h 1640228"/>
              <a:gd name="connsiteX273" fmla="*/ 1306290 w 1576226"/>
              <a:gd name="connsiteY273" fmla="*/ 252969 h 1640228"/>
              <a:gd name="connsiteX274" fmla="*/ 1332401 w 1576226"/>
              <a:gd name="connsiteY274" fmla="*/ 226858 h 1640228"/>
              <a:gd name="connsiteX275" fmla="*/ 1550115 w 1576226"/>
              <a:gd name="connsiteY275" fmla="*/ 226858 h 1640228"/>
              <a:gd name="connsiteX276" fmla="*/ 1576226 w 1576226"/>
              <a:gd name="connsiteY276" fmla="*/ 252969 h 1640228"/>
              <a:gd name="connsiteX277" fmla="*/ 1550115 w 1576226"/>
              <a:gd name="connsiteY277" fmla="*/ 279080 h 1640228"/>
              <a:gd name="connsiteX278" fmla="*/ 1524004 w 1576226"/>
              <a:gd name="connsiteY278" fmla="*/ 252969 h 1640228"/>
              <a:gd name="connsiteX279" fmla="*/ 1550115 w 1576226"/>
              <a:gd name="connsiteY279" fmla="*/ 226858 h 1640228"/>
              <a:gd name="connsiteX280" fmla="*/ 26117 w 1576226"/>
              <a:gd name="connsiteY280" fmla="*/ 2 h 1640228"/>
              <a:gd name="connsiteX281" fmla="*/ 52228 w 1576226"/>
              <a:gd name="connsiteY281" fmla="*/ 26113 h 1640228"/>
              <a:gd name="connsiteX282" fmla="*/ 26117 w 1576226"/>
              <a:gd name="connsiteY282" fmla="*/ 52224 h 1640228"/>
              <a:gd name="connsiteX283" fmla="*/ 6 w 1576226"/>
              <a:gd name="connsiteY283" fmla="*/ 26113 h 1640228"/>
              <a:gd name="connsiteX284" fmla="*/ 26117 w 1576226"/>
              <a:gd name="connsiteY284" fmla="*/ 2 h 1640228"/>
              <a:gd name="connsiteX285" fmla="*/ 243831 w 1576226"/>
              <a:gd name="connsiteY285" fmla="*/ 1 h 1640228"/>
              <a:gd name="connsiteX286" fmla="*/ 269942 w 1576226"/>
              <a:gd name="connsiteY286" fmla="*/ 26112 h 1640228"/>
              <a:gd name="connsiteX287" fmla="*/ 243831 w 1576226"/>
              <a:gd name="connsiteY287" fmla="*/ 52224 h 1640228"/>
              <a:gd name="connsiteX288" fmla="*/ 217720 w 1576226"/>
              <a:gd name="connsiteY288" fmla="*/ 26112 h 1640228"/>
              <a:gd name="connsiteX289" fmla="*/ 243831 w 1576226"/>
              <a:gd name="connsiteY289" fmla="*/ 1 h 1640228"/>
              <a:gd name="connsiteX290" fmla="*/ 461545 w 1576226"/>
              <a:gd name="connsiteY290" fmla="*/ 1 h 1640228"/>
              <a:gd name="connsiteX291" fmla="*/ 487656 w 1576226"/>
              <a:gd name="connsiteY291" fmla="*/ 26112 h 1640228"/>
              <a:gd name="connsiteX292" fmla="*/ 461545 w 1576226"/>
              <a:gd name="connsiteY292" fmla="*/ 52224 h 1640228"/>
              <a:gd name="connsiteX293" fmla="*/ 435434 w 1576226"/>
              <a:gd name="connsiteY293" fmla="*/ 26112 h 1640228"/>
              <a:gd name="connsiteX294" fmla="*/ 461545 w 1576226"/>
              <a:gd name="connsiteY294" fmla="*/ 1 h 1640228"/>
              <a:gd name="connsiteX295" fmla="*/ 679259 w 1576226"/>
              <a:gd name="connsiteY295" fmla="*/ 1 h 1640228"/>
              <a:gd name="connsiteX296" fmla="*/ 705370 w 1576226"/>
              <a:gd name="connsiteY296" fmla="*/ 26112 h 1640228"/>
              <a:gd name="connsiteX297" fmla="*/ 679259 w 1576226"/>
              <a:gd name="connsiteY297" fmla="*/ 52223 h 1640228"/>
              <a:gd name="connsiteX298" fmla="*/ 653148 w 1576226"/>
              <a:gd name="connsiteY298" fmla="*/ 26112 h 1640228"/>
              <a:gd name="connsiteX299" fmla="*/ 679259 w 1576226"/>
              <a:gd name="connsiteY299" fmla="*/ 1 h 1640228"/>
              <a:gd name="connsiteX300" fmla="*/ 896974 w 1576226"/>
              <a:gd name="connsiteY300" fmla="*/ 1 h 1640228"/>
              <a:gd name="connsiteX301" fmla="*/ 923085 w 1576226"/>
              <a:gd name="connsiteY301" fmla="*/ 26112 h 1640228"/>
              <a:gd name="connsiteX302" fmla="*/ 896974 w 1576226"/>
              <a:gd name="connsiteY302" fmla="*/ 52223 h 1640228"/>
              <a:gd name="connsiteX303" fmla="*/ 870863 w 1576226"/>
              <a:gd name="connsiteY303" fmla="*/ 26112 h 1640228"/>
              <a:gd name="connsiteX304" fmla="*/ 896974 w 1576226"/>
              <a:gd name="connsiteY304" fmla="*/ 1 h 1640228"/>
              <a:gd name="connsiteX305" fmla="*/ 1114688 w 1576226"/>
              <a:gd name="connsiteY305" fmla="*/ 1 h 1640228"/>
              <a:gd name="connsiteX306" fmla="*/ 1140799 w 1576226"/>
              <a:gd name="connsiteY306" fmla="*/ 26112 h 1640228"/>
              <a:gd name="connsiteX307" fmla="*/ 1114688 w 1576226"/>
              <a:gd name="connsiteY307" fmla="*/ 52223 h 1640228"/>
              <a:gd name="connsiteX308" fmla="*/ 1088577 w 1576226"/>
              <a:gd name="connsiteY308" fmla="*/ 26112 h 1640228"/>
              <a:gd name="connsiteX309" fmla="*/ 1114688 w 1576226"/>
              <a:gd name="connsiteY309" fmla="*/ 1 h 1640228"/>
              <a:gd name="connsiteX310" fmla="*/ 1332401 w 1576226"/>
              <a:gd name="connsiteY310" fmla="*/ 0 h 1640228"/>
              <a:gd name="connsiteX311" fmla="*/ 1358512 w 1576226"/>
              <a:gd name="connsiteY311" fmla="*/ 26111 h 1640228"/>
              <a:gd name="connsiteX312" fmla="*/ 1332401 w 1576226"/>
              <a:gd name="connsiteY312" fmla="*/ 52223 h 1640228"/>
              <a:gd name="connsiteX313" fmla="*/ 1306290 w 1576226"/>
              <a:gd name="connsiteY313" fmla="*/ 26111 h 1640228"/>
              <a:gd name="connsiteX314" fmla="*/ 1332401 w 1576226"/>
              <a:gd name="connsiteY314" fmla="*/ 0 h 1640228"/>
              <a:gd name="connsiteX315" fmla="*/ 1550115 w 1576226"/>
              <a:gd name="connsiteY315" fmla="*/ 0 h 1640228"/>
              <a:gd name="connsiteX316" fmla="*/ 1576226 w 1576226"/>
              <a:gd name="connsiteY316" fmla="*/ 26111 h 1640228"/>
              <a:gd name="connsiteX317" fmla="*/ 1550115 w 1576226"/>
              <a:gd name="connsiteY317" fmla="*/ 52222 h 1640228"/>
              <a:gd name="connsiteX318" fmla="*/ 1524004 w 1576226"/>
              <a:gd name="connsiteY318" fmla="*/ 26111 h 1640228"/>
              <a:gd name="connsiteX319" fmla="*/ 1550115 w 1576226"/>
              <a:gd name="connsiteY319" fmla="*/ 0 h 16402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Lst>
            <a:rect l="l" t="t" r="r" b="b"/>
            <a:pathLst>
              <a:path w="1576226" h="1640228">
                <a:moveTo>
                  <a:pt x="1550109" y="1588006"/>
                </a:moveTo>
                <a:cubicBezTo>
                  <a:pt x="1564530" y="1588006"/>
                  <a:pt x="1576220" y="1599696"/>
                  <a:pt x="1576220" y="1614117"/>
                </a:cubicBezTo>
                <a:cubicBezTo>
                  <a:pt x="1576220" y="1628538"/>
                  <a:pt x="1564530" y="1640228"/>
                  <a:pt x="1550109" y="1640228"/>
                </a:cubicBezTo>
                <a:cubicBezTo>
                  <a:pt x="1535688" y="1640228"/>
                  <a:pt x="1523998" y="1628538"/>
                  <a:pt x="1523998" y="1614117"/>
                </a:cubicBezTo>
                <a:cubicBezTo>
                  <a:pt x="1523998" y="1599696"/>
                  <a:pt x="1535688" y="1588006"/>
                  <a:pt x="1550109" y="1588006"/>
                </a:cubicBezTo>
                <a:close/>
                <a:moveTo>
                  <a:pt x="1332395" y="1588006"/>
                </a:moveTo>
                <a:cubicBezTo>
                  <a:pt x="1346816" y="1588006"/>
                  <a:pt x="1358506" y="1599696"/>
                  <a:pt x="1358506" y="1614117"/>
                </a:cubicBezTo>
                <a:cubicBezTo>
                  <a:pt x="1358506" y="1628538"/>
                  <a:pt x="1346816" y="1640228"/>
                  <a:pt x="1332395" y="1640228"/>
                </a:cubicBezTo>
                <a:cubicBezTo>
                  <a:pt x="1317974" y="1640228"/>
                  <a:pt x="1306284" y="1628538"/>
                  <a:pt x="1306284" y="1614117"/>
                </a:cubicBezTo>
                <a:cubicBezTo>
                  <a:pt x="1306284" y="1599696"/>
                  <a:pt x="1317974" y="1588006"/>
                  <a:pt x="1332395" y="1588006"/>
                </a:cubicBezTo>
                <a:close/>
                <a:moveTo>
                  <a:pt x="1114682" y="1588006"/>
                </a:moveTo>
                <a:cubicBezTo>
                  <a:pt x="1129103" y="1588006"/>
                  <a:pt x="1140793" y="1599696"/>
                  <a:pt x="1140793" y="1614117"/>
                </a:cubicBezTo>
                <a:cubicBezTo>
                  <a:pt x="1140793" y="1628538"/>
                  <a:pt x="1129103" y="1640228"/>
                  <a:pt x="1114682" y="1640228"/>
                </a:cubicBezTo>
                <a:cubicBezTo>
                  <a:pt x="1100261" y="1640228"/>
                  <a:pt x="1088571" y="1628538"/>
                  <a:pt x="1088571" y="1614117"/>
                </a:cubicBezTo>
                <a:cubicBezTo>
                  <a:pt x="1088571" y="1599696"/>
                  <a:pt x="1100261" y="1588006"/>
                  <a:pt x="1114682" y="1588006"/>
                </a:cubicBezTo>
                <a:close/>
                <a:moveTo>
                  <a:pt x="896968" y="1588006"/>
                </a:moveTo>
                <a:cubicBezTo>
                  <a:pt x="911389" y="1588006"/>
                  <a:pt x="923079" y="1599696"/>
                  <a:pt x="923079" y="1614117"/>
                </a:cubicBezTo>
                <a:cubicBezTo>
                  <a:pt x="923079" y="1628538"/>
                  <a:pt x="911389" y="1640228"/>
                  <a:pt x="896968" y="1640228"/>
                </a:cubicBezTo>
                <a:cubicBezTo>
                  <a:pt x="882547" y="1640228"/>
                  <a:pt x="870857" y="1628538"/>
                  <a:pt x="870857" y="1614117"/>
                </a:cubicBezTo>
                <a:cubicBezTo>
                  <a:pt x="870857" y="1599696"/>
                  <a:pt x="882547" y="1588006"/>
                  <a:pt x="896968" y="1588006"/>
                </a:cubicBezTo>
                <a:close/>
                <a:moveTo>
                  <a:pt x="679253" y="1588006"/>
                </a:moveTo>
                <a:cubicBezTo>
                  <a:pt x="693674" y="1588006"/>
                  <a:pt x="705364" y="1599696"/>
                  <a:pt x="705364" y="1614117"/>
                </a:cubicBezTo>
                <a:cubicBezTo>
                  <a:pt x="705364" y="1628538"/>
                  <a:pt x="693674" y="1640228"/>
                  <a:pt x="679253" y="1640228"/>
                </a:cubicBezTo>
                <a:cubicBezTo>
                  <a:pt x="664832" y="1640228"/>
                  <a:pt x="653142" y="1628538"/>
                  <a:pt x="653142" y="1614117"/>
                </a:cubicBezTo>
                <a:cubicBezTo>
                  <a:pt x="653142" y="1599696"/>
                  <a:pt x="664832" y="1588006"/>
                  <a:pt x="679253" y="1588006"/>
                </a:cubicBezTo>
                <a:close/>
                <a:moveTo>
                  <a:pt x="461539" y="1588006"/>
                </a:moveTo>
                <a:cubicBezTo>
                  <a:pt x="475960" y="1588006"/>
                  <a:pt x="487650" y="1599696"/>
                  <a:pt x="487650" y="1614117"/>
                </a:cubicBezTo>
                <a:cubicBezTo>
                  <a:pt x="487650" y="1628538"/>
                  <a:pt x="475960" y="1640228"/>
                  <a:pt x="461539" y="1640228"/>
                </a:cubicBezTo>
                <a:cubicBezTo>
                  <a:pt x="447118" y="1640228"/>
                  <a:pt x="435428" y="1628538"/>
                  <a:pt x="435428" y="1614117"/>
                </a:cubicBezTo>
                <a:cubicBezTo>
                  <a:pt x="435428" y="1599696"/>
                  <a:pt x="447118" y="1588006"/>
                  <a:pt x="461539" y="1588006"/>
                </a:cubicBezTo>
                <a:close/>
                <a:moveTo>
                  <a:pt x="243825" y="1588006"/>
                </a:moveTo>
                <a:cubicBezTo>
                  <a:pt x="258246" y="1588006"/>
                  <a:pt x="269936" y="1599696"/>
                  <a:pt x="269936" y="1614117"/>
                </a:cubicBezTo>
                <a:cubicBezTo>
                  <a:pt x="269936" y="1628538"/>
                  <a:pt x="258246" y="1640228"/>
                  <a:pt x="243825" y="1640228"/>
                </a:cubicBezTo>
                <a:cubicBezTo>
                  <a:pt x="229404" y="1640228"/>
                  <a:pt x="217714" y="1628538"/>
                  <a:pt x="217714" y="1614117"/>
                </a:cubicBezTo>
                <a:cubicBezTo>
                  <a:pt x="217714" y="1599696"/>
                  <a:pt x="229404" y="1588006"/>
                  <a:pt x="243825" y="1588006"/>
                </a:cubicBezTo>
                <a:close/>
                <a:moveTo>
                  <a:pt x="26111" y="1588006"/>
                </a:moveTo>
                <a:cubicBezTo>
                  <a:pt x="40532" y="1588006"/>
                  <a:pt x="52222" y="1599696"/>
                  <a:pt x="52222" y="1614117"/>
                </a:cubicBezTo>
                <a:cubicBezTo>
                  <a:pt x="52222" y="1628538"/>
                  <a:pt x="40532" y="1640228"/>
                  <a:pt x="26111" y="1640228"/>
                </a:cubicBezTo>
                <a:cubicBezTo>
                  <a:pt x="11690" y="1640228"/>
                  <a:pt x="0" y="1628538"/>
                  <a:pt x="0" y="1614117"/>
                </a:cubicBezTo>
                <a:cubicBezTo>
                  <a:pt x="0" y="1599696"/>
                  <a:pt x="11690" y="1588006"/>
                  <a:pt x="26111" y="1588006"/>
                </a:cubicBezTo>
                <a:close/>
                <a:moveTo>
                  <a:pt x="1550110" y="1361148"/>
                </a:moveTo>
                <a:cubicBezTo>
                  <a:pt x="1564531" y="1361148"/>
                  <a:pt x="1576221" y="1372838"/>
                  <a:pt x="1576221" y="1387259"/>
                </a:cubicBezTo>
                <a:cubicBezTo>
                  <a:pt x="1576221" y="1401680"/>
                  <a:pt x="1564531" y="1413370"/>
                  <a:pt x="1550110" y="1413370"/>
                </a:cubicBezTo>
                <a:cubicBezTo>
                  <a:pt x="1535689" y="1413370"/>
                  <a:pt x="1523999" y="1401680"/>
                  <a:pt x="1523999" y="1387259"/>
                </a:cubicBezTo>
                <a:cubicBezTo>
                  <a:pt x="1523999" y="1372838"/>
                  <a:pt x="1535689" y="1361148"/>
                  <a:pt x="1550110" y="1361148"/>
                </a:cubicBezTo>
                <a:close/>
                <a:moveTo>
                  <a:pt x="1332396" y="1361148"/>
                </a:moveTo>
                <a:cubicBezTo>
                  <a:pt x="1346817" y="1361148"/>
                  <a:pt x="1358507" y="1372838"/>
                  <a:pt x="1358507" y="1387259"/>
                </a:cubicBezTo>
                <a:cubicBezTo>
                  <a:pt x="1358507" y="1401680"/>
                  <a:pt x="1346817" y="1413370"/>
                  <a:pt x="1332396" y="1413370"/>
                </a:cubicBezTo>
                <a:cubicBezTo>
                  <a:pt x="1317975" y="1413370"/>
                  <a:pt x="1306285" y="1401680"/>
                  <a:pt x="1306285" y="1387259"/>
                </a:cubicBezTo>
                <a:cubicBezTo>
                  <a:pt x="1306285" y="1372838"/>
                  <a:pt x="1317975" y="1361148"/>
                  <a:pt x="1332396" y="1361148"/>
                </a:cubicBezTo>
                <a:close/>
                <a:moveTo>
                  <a:pt x="1114683" y="1361148"/>
                </a:moveTo>
                <a:cubicBezTo>
                  <a:pt x="1129104" y="1361148"/>
                  <a:pt x="1140794" y="1372838"/>
                  <a:pt x="1140794" y="1387259"/>
                </a:cubicBezTo>
                <a:cubicBezTo>
                  <a:pt x="1140794" y="1401680"/>
                  <a:pt x="1129104" y="1413370"/>
                  <a:pt x="1114683" y="1413370"/>
                </a:cubicBezTo>
                <a:cubicBezTo>
                  <a:pt x="1100262" y="1413370"/>
                  <a:pt x="1088572" y="1401680"/>
                  <a:pt x="1088572" y="1387259"/>
                </a:cubicBezTo>
                <a:cubicBezTo>
                  <a:pt x="1088572" y="1372838"/>
                  <a:pt x="1100262" y="1361148"/>
                  <a:pt x="1114683" y="1361148"/>
                </a:cubicBezTo>
                <a:close/>
                <a:moveTo>
                  <a:pt x="896969" y="1361148"/>
                </a:moveTo>
                <a:cubicBezTo>
                  <a:pt x="911390" y="1361148"/>
                  <a:pt x="923080" y="1372838"/>
                  <a:pt x="923080" y="1387259"/>
                </a:cubicBezTo>
                <a:cubicBezTo>
                  <a:pt x="923080" y="1401680"/>
                  <a:pt x="911390" y="1413370"/>
                  <a:pt x="896969" y="1413370"/>
                </a:cubicBezTo>
                <a:cubicBezTo>
                  <a:pt x="882548" y="1413370"/>
                  <a:pt x="870858" y="1401680"/>
                  <a:pt x="870858" y="1387259"/>
                </a:cubicBezTo>
                <a:cubicBezTo>
                  <a:pt x="870858" y="1372838"/>
                  <a:pt x="882548" y="1361148"/>
                  <a:pt x="896969" y="1361148"/>
                </a:cubicBezTo>
                <a:close/>
                <a:moveTo>
                  <a:pt x="679254" y="1361148"/>
                </a:moveTo>
                <a:cubicBezTo>
                  <a:pt x="693675" y="1361148"/>
                  <a:pt x="705365" y="1372838"/>
                  <a:pt x="705365" y="1387259"/>
                </a:cubicBezTo>
                <a:cubicBezTo>
                  <a:pt x="705365" y="1401680"/>
                  <a:pt x="693675" y="1413370"/>
                  <a:pt x="679254" y="1413370"/>
                </a:cubicBezTo>
                <a:cubicBezTo>
                  <a:pt x="664833" y="1413370"/>
                  <a:pt x="653143" y="1401680"/>
                  <a:pt x="653143" y="1387259"/>
                </a:cubicBezTo>
                <a:cubicBezTo>
                  <a:pt x="653143" y="1372838"/>
                  <a:pt x="664833" y="1361148"/>
                  <a:pt x="679254" y="1361148"/>
                </a:cubicBezTo>
                <a:close/>
                <a:moveTo>
                  <a:pt x="461540" y="1361148"/>
                </a:moveTo>
                <a:cubicBezTo>
                  <a:pt x="475961" y="1361148"/>
                  <a:pt x="487651" y="1372838"/>
                  <a:pt x="487651" y="1387259"/>
                </a:cubicBezTo>
                <a:cubicBezTo>
                  <a:pt x="487651" y="1401680"/>
                  <a:pt x="475961" y="1413370"/>
                  <a:pt x="461540" y="1413370"/>
                </a:cubicBezTo>
                <a:cubicBezTo>
                  <a:pt x="447119" y="1413370"/>
                  <a:pt x="435429" y="1401680"/>
                  <a:pt x="435429" y="1387259"/>
                </a:cubicBezTo>
                <a:cubicBezTo>
                  <a:pt x="435429" y="1372838"/>
                  <a:pt x="447119" y="1361148"/>
                  <a:pt x="461540" y="1361148"/>
                </a:cubicBezTo>
                <a:close/>
                <a:moveTo>
                  <a:pt x="243826" y="1361148"/>
                </a:moveTo>
                <a:cubicBezTo>
                  <a:pt x="258247" y="1361148"/>
                  <a:pt x="269937" y="1372838"/>
                  <a:pt x="269937" y="1387259"/>
                </a:cubicBezTo>
                <a:cubicBezTo>
                  <a:pt x="269937" y="1401680"/>
                  <a:pt x="258247" y="1413370"/>
                  <a:pt x="243826" y="1413370"/>
                </a:cubicBezTo>
                <a:cubicBezTo>
                  <a:pt x="229405" y="1413370"/>
                  <a:pt x="217715" y="1401680"/>
                  <a:pt x="217715" y="1387259"/>
                </a:cubicBezTo>
                <a:cubicBezTo>
                  <a:pt x="217715" y="1372838"/>
                  <a:pt x="229405" y="1361148"/>
                  <a:pt x="243826" y="1361148"/>
                </a:cubicBezTo>
                <a:close/>
                <a:moveTo>
                  <a:pt x="26112" y="1361148"/>
                </a:moveTo>
                <a:cubicBezTo>
                  <a:pt x="40533" y="1361148"/>
                  <a:pt x="52223" y="1372838"/>
                  <a:pt x="52223" y="1387259"/>
                </a:cubicBezTo>
                <a:cubicBezTo>
                  <a:pt x="52223" y="1401680"/>
                  <a:pt x="40533" y="1413370"/>
                  <a:pt x="26112" y="1413370"/>
                </a:cubicBezTo>
                <a:cubicBezTo>
                  <a:pt x="11691" y="1413370"/>
                  <a:pt x="1" y="1401680"/>
                  <a:pt x="1" y="1387259"/>
                </a:cubicBezTo>
                <a:cubicBezTo>
                  <a:pt x="1" y="1372838"/>
                  <a:pt x="11691" y="1361148"/>
                  <a:pt x="26112" y="1361148"/>
                </a:cubicBezTo>
                <a:close/>
                <a:moveTo>
                  <a:pt x="1550111" y="1134290"/>
                </a:moveTo>
                <a:cubicBezTo>
                  <a:pt x="1564532" y="1134290"/>
                  <a:pt x="1576222" y="1145980"/>
                  <a:pt x="1576222" y="1160401"/>
                </a:cubicBezTo>
                <a:cubicBezTo>
                  <a:pt x="1576222" y="1174822"/>
                  <a:pt x="1564532" y="1186512"/>
                  <a:pt x="1550111" y="1186512"/>
                </a:cubicBezTo>
                <a:cubicBezTo>
                  <a:pt x="1535690" y="1186512"/>
                  <a:pt x="1524000" y="1174822"/>
                  <a:pt x="1524000" y="1160401"/>
                </a:cubicBezTo>
                <a:cubicBezTo>
                  <a:pt x="1524000" y="1145980"/>
                  <a:pt x="1535690" y="1134290"/>
                  <a:pt x="1550111" y="1134290"/>
                </a:cubicBezTo>
                <a:close/>
                <a:moveTo>
                  <a:pt x="1332397" y="1134290"/>
                </a:moveTo>
                <a:cubicBezTo>
                  <a:pt x="1346818" y="1134290"/>
                  <a:pt x="1358508" y="1145980"/>
                  <a:pt x="1358508" y="1160401"/>
                </a:cubicBezTo>
                <a:cubicBezTo>
                  <a:pt x="1358508" y="1174822"/>
                  <a:pt x="1346818" y="1186512"/>
                  <a:pt x="1332397" y="1186512"/>
                </a:cubicBezTo>
                <a:cubicBezTo>
                  <a:pt x="1317976" y="1186512"/>
                  <a:pt x="1306286" y="1174822"/>
                  <a:pt x="1306286" y="1160401"/>
                </a:cubicBezTo>
                <a:cubicBezTo>
                  <a:pt x="1306286" y="1145980"/>
                  <a:pt x="1317976" y="1134290"/>
                  <a:pt x="1332397" y="1134290"/>
                </a:cubicBezTo>
                <a:close/>
                <a:moveTo>
                  <a:pt x="1114684" y="1134290"/>
                </a:moveTo>
                <a:cubicBezTo>
                  <a:pt x="1129105" y="1134290"/>
                  <a:pt x="1140795" y="1145980"/>
                  <a:pt x="1140795" y="1160401"/>
                </a:cubicBezTo>
                <a:cubicBezTo>
                  <a:pt x="1140795" y="1174822"/>
                  <a:pt x="1129105" y="1186512"/>
                  <a:pt x="1114684" y="1186512"/>
                </a:cubicBezTo>
                <a:cubicBezTo>
                  <a:pt x="1100263" y="1186512"/>
                  <a:pt x="1088573" y="1174822"/>
                  <a:pt x="1088573" y="1160401"/>
                </a:cubicBezTo>
                <a:cubicBezTo>
                  <a:pt x="1088573" y="1145980"/>
                  <a:pt x="1100263" y="1134290"/>
                  <a:pt x="1114684" y="1134290"/>
                </a:cubicBezTo>
                <a:close/>
                <a:moveTo>
                  <a:pt x="896970" y="1134290"/>
                </a:moveTo>
                <a:cubicBezTo>
                  <a:pt x="911391" y="1134290"/>
                  <a:pt x="923081" y="1145980"/>
                  <a:pt x="923081" y="1160401"/>
                </a:cubicBezTo>
                <a:cubicBezTo>
                  <a:pt x="923081" y="1174822"/>
                  <a:pt x="911391" y="1186512"/>
                  <a:pt x="896970" y="1186512"/>
                </a:cubicBezTo>
                <a:cubicBezTo>
                  <a:pt x="882549" y="1186512"/>
                  <a:pt x="870859" y="1174822"/>
                  <a:pt x="870859" y="1160401"/>
                </a:cubicBezTo>
                <a:cubicBezTo>
                  <a:pt x="870859" y="1145980"/>
                  <a:pt x="882549" y="1134290"/>
                  <a:pt x="896970" y="1134290"/>
                </a:cubicBezTo>
                <a:close/>
                <a:moveTo>
                  <a:pt x="679255" y="1134290"/>
                </a:moveTo>
                <a:cubicBezTo>
                  <a:pt x="693676" y="1134290"/>
                  <a:pt x="705366" y="1145980"/>
                  <a:pt x="705366" y="1160401"/>
                </a:cubicBezTo>
                <a:cubicBezTo>
                  <a:pt x="705366" y="1174822"/>
                  <a:pt x="693676" y="1186512"/>
                  <a:pt x="679255" y="1186512"/>
                </a:cubicBezTo>
                <a:cubicBezTo>
                  <a:pt x="664834" y="1186512"/>
                  <a:pt x="653144" y="1174822"/>
                  <a:pt x="653144" y="1160401"/>
                </a:cubicBezTo>
                <a:cubicBezTo>
                  <a:pt x="653144" y="1145980"/>
                  <a:pt x="664834" y="1134290"/>
                  <a:pt x="679255" y="1134290"/>
                </a:cubicBezTo>
                <a:close/>
                <a:moveTo>
                  <a:pt x="461541" y="1134290"/>
                </a:moveTo>
                <a:cubicBezTo>
                  <a:pt x="475962" y="1134290"/>
                  <a:pt x="487652" y="1145980"/>
                  <a:pt x="487652" y="1160401"/>
                </a:cubicBezTo>
                <a:cubicBezTo>
                  <a:pt x="487652" y="1174822"/>
                  <a:pt x="475962" y="1186512"/>
                  <a:pt x="461541" y="1186512"/>
                </a:cubicBezTo>
                <a:cubicBezTo>
                  <a:pt x="447120" y="1186512"/>
                  <a:pt x="435430" y="1174822"/>
                  <a:pt x="435430" y="1160401"/>
                </a:cubicBezTo>
                <a:cubicBezTo>
                  <a:pt x="435430" y="1145980"/>
                  <a:pt x="447120" y="1134290"/>
                  <a:pt x="461541" y="1134290"/>
                </a:cubicBezTo>
                <a:close/>
                <a:moveTo>
                  <a:pt x="243827" y="1134290"/>
                </a:moveTo>
                <a:cubicBezTo>
                  <a:pt x="258248" y="1134290"/>
                  <a:pt x="269938" y="1145980"/>
                  <a:pt x="269938" y="1160401"/>
                </a:cubicBezTo>
                <a:cubicBezTo>
                  <a:pt x="269938" y="1174822"/>
                  <a:pt x="258248" y="1186512"/>
                  <a:pt x="243827" y="1186512"/>
                </a:cubicBezTo>
                <a:cubicBezTo>
                  <a:pt x="229406" y="1186512"/>
                  <a:pt x="217716" y="1174822"/>
                  <a:pt x="217716" y="1160401"/>
                </a:cubicBezTo>
                <a:cubicBezTo>
                  <a:pt x="217716" y="1145980"/>
                  <a:pt x="229406" y="1134290"/>
                  <a:pt x="243827" y="1134290"/>
                </a:cubicBezTo>
                <a:close/>
                <a:moveTo>
                  <a:pt x="26113" y="1134290"/>
                </a:moveTo>
                <a:cubicBezTo>
                  <a:pt x="40534" y="1134290"/>
                  <a:pt x="52224" y="1145980"/>
                  <a:pt x="52224" y="1160401"/>
                </a:cubicBezTo>
                <a:cubicBezTo>
                  <a:pt x="52224" y="1174822"/>
                  <a:pt x="40534" y="1186512"/>
                  <a:pt x="26113" y="1186512"/>
                </a:cubicBezTo>
                <a:cubicBezTo>
                  <a:pt x="11692" y="1186512"/>
                  <a:pt x="2" y="1174822"/>
                  <a:pt x="2" y="1160401"/>
                </a:cubicBezTo>
                <a:cubicBezTo>
                  <a:pt x="2" y="1145980"/>
                  <a:pt x="11692" y="1134290"/>
                  <a:pt x="26113" y="1134290"/>
                </a:cubicBezTo>
                <a:close/>
                <a:moveTo>
                  <a:pt x="1550112" y="907432"/>
                </a:moveTo>
                <a:cubicBezTo>
                  <a:pt x="1564533" y="907432"/>
                  <a:pt x="1576223" y="919122"/>
                  <a:pt x="1576223" y="933543"/>
                </a:cubicBezTo>
                <a:cubicBezTo>
                  <a:pt x="1576223" y="947964"/>
                  <a:pt x="1564533" y="959654"/>
                  <a:pt x="1550112" y="959654"/>
                </a:cubicBezTo>
                <a:cubicBezTo>
                  <a:pt x="1535691" y="959654"/>
                  <a:pt x="1524001" y="947964"/>
                  <a:pt x="1524001" y="933543"/>
                </a:cubicBezTo>
                <a:cubicBezTo>
                  <a:pt x="1524001" y="919122"/>
                  <a:pt x="1535691" y="907432"/>
                  <a:pt x="1550112" y="907432"/>
                </a:cubicBezTo>
                <a:close/>
                <a:moveTo>
                  <a:pt x="1332398" y="907432"/>
                </a:moveTo>
                <a:cubicBezTo>
                  <a:pt x="1346819" y="907432"/>
                  <a:pt x="1358509" y="919122"/>
                  <a:pt x="1358509" y="933543"/>
                </a:cubicBezTo>
                <a:cubicBezTo>
                  <a:pt x="1358509" y="947964"/>
                  <a:pt x="1346819" y="959654"/>
                  <a:pt x="1332398" y="959654"/>
                </a:cubicBezTo>
                <a:cubicBezTo>
                  <a:pt x="1317977" y="959654"/>
                  <a:pt x="1306287" y="947964"/>
                  <a:pt x="1306287" y="933543"/>
                </a:cubicBezTo>
                <a:cubicBezTo>
                  <a:pt x="1306287" y="919122"/>
                  <a:pt x="1317977" y="907432"/>
                  <a:pt x="1332398" y="907432"/>
                </a:cubicBezTo>
                <a:close/>
                <a:moveTo>
                  <a:pt x="1114685" y="907432"/>
                </a:moveTo>
                <a:cubicBezTo>
                  <a:pt x="1129106" y="907432"/>
                  <a:pt x="1140796" y="919122"/>
                  <a:pt x="1140796" y="933543"/>
                </a:cubicBezTo>
                <a:cubicBezTo>
                  <a:pt x="1140796" y="947964"/>
                  <a:pt x="1129106" y="959654"/>
                  <a:pt x="1114685" y="959654"/>
                </a:cubicBezTo>
                <a:cubicBezTo>
                  <a:pt x="1100264" y="959654"/>
                  <a:pt x="1088574" y="947964"/>
                  <a:pt x="1088574" y="933543"/>
                </a:cubicBezTo>
                <a:cubicBezTo>
                  <a:pt x="1088574" y="919122"/>
                  <a:pt x="1100264" y="907432"/>
                  <a:pt x="1114685" y="907432"/>
                </a:cubicBezTo>
                <a:close/>
                <a:moveTo>
                  <a:pt x="896971" y="907432"/>
                </a:moveTo>
                <a:cubicBezTo>
                  <a:pt x="911392" y="907432"/>
                  <a:pt x="923082" y="919122"/>
                  <a:pt x="923082" y="933543"/>
                </a:cubicBezTo>
                <a:cubicBezTo>
                  <a:pt x="923082" y="947964"/>
                  <a:pt x="911392" y="959654"/>
                  <a:pt x="896971" y="959654"/>
                </a:cubicBezTo>
                <a:cubicBezTo>
                  <a:pt x="882550" y="959654"/>
                  <a:pt x="870860" y="947964"/>
                  <a:pt x="870860" y="933543"/>
                </a:cubicBezTo>
                <a:cubicBezTo>
                  <a:pt x="870860" y="919122"/>
                  <a:pt x="882550" y="907432"/>
                  <a:pt x="896971" y="907432"/>
                </a:cubicBezTo>
                <a:close/>
                <a:moveTo>
                  <a:pt x="679256" y="907432"/>
                </a:moveTo>
                <a:cubicBezTo>
                  <a:pt x="693677" y="907432"/>
                  <a:pt x="705367" y="919122"/>
                  <a:pt x="705367" y="933543"/>
                </a:cubicBezTo>
                <a:cubicBezTo>
                  <a:pt x="705367" y="947964"/>
                  <a:pt x="693677" y="959654"/>
                  <a:pt x="679256" y="959654"/>
                </a:cubicBezTo>
                <a:cubicBezTo>
                  <a:pt x="664835" y="959654"/>
                  <a:pt x="653145" y="947964"/>
                  <a:pt x="653145" y="933543"/>
                </a:cubicBezTo>
                <a:cubicBezTo>
                  <a:pt x="653145" y="919122"/>
                  <a:pt x="664835" y="907432"/>
                  <a:pt x="679256" y="907432"/>
                </a:cubicBezTo>
                <a:close/>
                <a:moveTo>
                  <a:pt x="461542" y="907432"/>
                </a:moveTo>
                <a:cubicBezTo>
                  <a:pt x="475963" y="907432"/>
                  <a:pt x="487653" y="919122"/>
                  <a:pt x="487653" y="933543"/>
                </a:cubicBezTo>
                <a:cubicBezTo>
                  <a:pt x="487653" y="947964"/>
                  <a:pt x="475963" y="959654"/>
                  <a:pt x="461542" y="959654"/>
                </a:cubicBezTo>
                <a:cubicBezTo>
                  <a:pt x="447121" y="959654"/>
                  <a:pt x="435431" y="947964"/>
                  <a:pt x="435431" y="933543"/>
                </a:cubicBezTo>
                <a:cubicBezTo>
                  <a:pt x="435431" y="919122"/>
                  <a:pt x="447121" y="907432"/>
                  <a:pt x="461542" y="907432"/>
                </a:cubicBezTo>
                <a:close/>
                <a:moveTo>
                  <a:pt x="243828" y="907432"/>
                </a:moveTo>
                <a:cubicBezTo>
                  <a:pt x="258249" y="907432"/>
                  <a:pt x="269939" y="919122"/>
                  <a:pt x="269939" y="933543"/>
                </a:cubicBezTo>
                <a:cubicBezTo>
                  <a:pt x="269939" y="947964"/>
                  <a:pt x="258249" y="959654"/>
                  <a:pt x="243828" y="959654"/>
                </a:cubicBezTo>
                <a:cubicBezTo>
                  <a:pt x="229407" y="959654"/>
                  <a:pt x="217717" y="947964"/>
                  <a:pt x="217717" y="933543"/>
                </a:cubicBezTo>
                <a:cubicBezTo>
                  <a:pt x="217717" y="919122"/>
                  <a:pt x="229407" y="907432"/>
                  <a:pt x="243828" y="907432"/>
                </a:cubicBezTo>
                <a:close/>
                <a:moveTo>
                  <a:pt x="26114" y="907432"/>
                </a:moveTo>
                <a:cubicBezTo>
                  <a:pt x="40535" y="907432"/>
                  <a:pt x="52225" y="919122"/>
                  <a:pt x="52225" y="933543"/>
                </a:cubicBezTo>
                <a:cubicBezTo>
                  <a:pt x="52225" y="947964"/>
                  <a:pt x="40535" y="959654"/>
                  <a:pt x="26114" y="959654"/>
                </a:cubicBezTo>
                <a:cubicBezTo>
                  <a:pt x="11693" y="959654"/>
                  <a:pt x="3" y="947964"/>
                  <a:pt x="3" y="933543"/>
                </a:cubicBezTo>
                <a:cubicBezTo>
                  <a:pt x="3" y="919122"/>
                  <a:pt x="11693" y="907432"/>
                  <a:pt x="26114" y="907432"/>
                </a:cubicBezTo>
                <a:close/>
                <a:moveTo>
                  <a:pt x="1550113" y="680574"/>
                </a:moveTo>
                <a:cubicBezTo>
                  <a:pt x="1564534" y="680574"/>
                  <a:pt x="1576224" y="692264"/>
                  <a:pt x="1576224" y="706685"/>
                </a:cubicBezTo>
                <a:cubicBezTo>
                  <a:pt x="1576224" y="721106"/>
                  <a:pt x="1564534" y="732796"/>
                  <a:pt x="1550113" y="732796"/>
                </a:cubicBezTo>
                <a:cubicBezTo>
                  <a:pt x="1535692" y="732796"/>
                  <a:pt x="1524002" y="721106"/>
                  <a:pt x="1524002" y="706685"/>
                </a:cubicBezTo>
                <a:cubicBezTo>
                  <a:pt x="1524002" y="692264"/>
                  <a:pt x="1535692" y="680574"/>
                  <a:pt x="1550113" y="680574"/>
                </a:cubicBezTo>
                <a:close/>
                <a:moveTo>
                  <a:pt x="1332399" y="680574"/>
                </a:moveTo>
                <a:cubicBezTo>
                  <a:pt x="1346820" y="680574"/>
                  <a:pt x="1358510" y="692264"/>
                  <a:pt x="1358510" y="706685"/>
                </a:cubicBezTo>
                <a:cubicBezTo>
                  <a:pt x="1358510" y="721106"/>
                  <a:pt x="1346820" y="732796"/>
                  <a:pt x="1332399" y="732796"/>
                </a:cubicBezTo>
                <a:cubicBezTo>
                  <a:pt x="1317978" y="732796"/>
                  <a:pt x="1306288" y="721106"/>
                  <a:pt x="1306288" y="706685"/>
                </a:cubicBezTo>
                <a:cubicBezTo>
                  <a:pt x="1306288" y="692264"/>
                  <a:pt x="1317978" y="680574"/>
                  <a:pt x="1332399" y="680574"/>
                </a:cubicBezTo>
                <a:close/>
                <a:moveTo>
                  <a:pt x="1114686" y="680574"/>
                </a:moveTo>
                <a:cubicBezTo>
                  <a:pt x="1129107" y="680574"/>
                  <a:pt x="1140797" y="692264"/>
                  <a:pt x="1140797" y="706685"/>
                </a:cubicBezTo>
                <a:cubicBezTo>
                  <a:pt x="1140797" y="721106"/>
                  <a:pt x="1129107" y="732796"/>
                  <a:pt x="1114686" y="732796"/>
                </a:cubicBezTo>
                <a:cubicBezTo>
                  <a:pt x="1100265" y="732796"/>
                  <a:pt x="1088575" y="721106"/>
                  <a:pt x="1088575" y="706685"/>
                </a:cubicBezTo>
                <a:cubicBezTo>
                  <a:pt x="1088575" y="692264"/>
                  <a:pt x="1100265" y="680574"/>
                  <a:pt x="1114686" y="680574"/>
                </a:cubicBezTo>
                <a:close/>
                <a:moveTo>
                  <a:pt x="896972" y="680574"/>
                </a:moveTo>
                <a:cubicBezTo>
                  <a:pt x="911393" y="680574"/>
                  <a:pt x="923083" y="692264"/>
                  <a:pt x="923083" y="706685"/>
                </a:cubicBezTo>
                <a:cubicBezTo>
                  <a:pt x="923083" y="721106"/>
                  <a:pt x="911393" y="732796"/>
                  <a:pt x="896972" y="732796"/>
                </a:cubicBezTo>
                <a:cubicBezTo>
                  <a:pt x="882551" y="732796"/>
                  <a:pt x="870861" y="721106"/>
                  <a:pt x="870861" y="706685"/>
                </a:cubicBezTo>
                <a:cubicBezTo>
                  <a:pt x="870861" y="692264"/>
                  <a:pt x="882551" y="680574"/>
                  <a:pt x="896972" y="680574"/>
                </a:cubicBezTo>
                <a:close/>
                <a:moveTo>
                  <a:pt x="679257" y="680574"/>
                </a:moveTo>
                <a:cubicBezTo>
                  <a:pt x="693678" y="680574"/>
                  <a:pt x="705368" y="692264"/>
                  <a:pt x="705368" y="706685"/>
                </a:cubicBezTo>
                <a:cubicBezTo>
                  <a:pt x="705368" y="721106"/>
                  <a:pt x="693678" y="732796"/>
                  <a:pt x="679257" y="732796"/>
                </a:cubicBezTo>
                <a:cubicBezTo>
                  <a:pt x="664836" y="732796"/>
                  <a:pt x="653146" y="721106"/>
                  <a:pt x="653146" y="706685"/>
                </a:cubicBezTo>
                <a:cubicBezTo>
                  <a:pt x="653146" y="692264"/>
                  <a:pt x="664836" y="680574"/>
                  <a:pt x="679257" y="680574"/>
                </a:cubicBezTo>
                <a:close/>
                <a:moveTo>
                  <a:pt x="461543" y="680574"/>
                </a:moveTo>
                <a:cubicBezTo>
                  <a:pt x="475964" y="680574"/>
                  <a:pt x="487654" y="692264"/>
                  <a:pt x="487654" y="706685"/>
                </a:cubicBezTo>
                <a:cubicBezTo>
                  <a:pt x="487654" y="721106"/>
                  <a:pt x="475964" y="732796"/>
                  <a:pt x="461543" y="732796"/>
                </a:cubicBezTo>
                <a:cubicBezTo>
                  <a:pt x="447122" y="732796"/>
                  <a:pt x="435432" y="721106"/>
                  <a:pt x="435432" y="706685"/>
                </a:cubicBezTo>
                <a:cubicBezTo>
                  <a:pt x="435432" y="692264"/>
                  <a:pt x="447122" y="680574"/>
                  <a:pt x="461543" y="680574"/>
                </a:cubicBezTo>
                <a:close/>
                <a:moveTo>
                  <a:pt x="243829" y="680574"/>
                </a:moveTo>
                <a:cubicBezTo>
                  <a:pt x="258250" y="680574"/>
                  <a:pt x="269940" y="692264"/>
                  <a:pt x="269940" y="706685"/>
                </a:cubicBezTo>
                <a:cubicBezTo>
                  <a:pt x="269940" y="721106"/>
                  <a:pt x="258250" y="732796"/>
                  <a:pt x="243829" y="732796"/>
                </a:cubicBezTo>
                <a:cubicBezTo>
                  <a:pt x="229408" y="732796"/>
                  <a:pt x="217718" y="721106"/>
                  <a:pt x="217718" y="706685"/>
                </a:cubicBezTo>
                <a:cubicBezTo>
                  <a:pt x="217718" y="692264"/>
                  <a:pt x="229408" y="680574"/>
                  <a:pt x="243829" y="680574"/>
                </a:cubicBezTo>
                <a:close/>
                <a:moveTo>
                  <a:pt x="26115" y="680574"/>
                </a:moveTo>
                <a:cubicBezTo>
                  <a:pt x="40536" y="680574"/>
                  <a:pt x="52226" y="692264"/>
                  <a:pt x="52226" y="706685"/>
                </a:cubicBezTo>
                <a:cubicBezTo>
                  <a:pt x="52226" y="721106"/>
                  <a:pt x="40536" y="732796"/>
                  <a:pt x="26115" y="732796"/>
                </a:cubicBezTo>
                <a:cubicBezTo>
                  <a:pt x="11694" y="732796"/>
                  <a:pt x="4" y="721106"/>
                  <a:pt x="4" y="706685"/>
                </a:cubicBezTo>
                <a:cubicBezTo>
                  <a:pt x="4" y="692264"/>
                  <a:pt x="11694" y="680574"/>
                  <a:pt x="26115" y="680574"/>
                </a:cubicBezTo>
                <a:close/>
                <a:moveTo>
                  <a:pt x="26116" y="453717"/>
                </a:moveTo>
                <a:cubicBezTo>
                  <a:pt x="40537" y="453717"/>
                  <a:pt x="52227" y="465407"/>
                  <a:pt x="52227" y="479827"/>
                </a:cubicBezTo>
                <a:cubicBezTo>
                  <a:pt x="52227" y="494249"/>
                  <a:pt x="40537" y="505939"/>
                  <a:pt x="26116" y="505939"/>
                </a:cubicBezTo>
                <a:cubicBezTo>
                  <a:pt x="11695" y="505939"/>
                  <a:pt x="5" y="494249"/>
                  <a:pt x="5" y="479827"/>
                </a:cubicBezTo>
                <a:cubicBezTo>
                  <a:pt x="5" y="465407"/>
                  <a:pt x="11695" y="453717"/>
                  <a:pt x="26116" y="453717"/>
                </a:cubicBezTo>
                <a:close/>
                <a:moveTo>
                  <a:pt x="243830" y="453717"/>
                </a:moveTo>
                <a:cubicBezTo>
                  <a:pt x="258251" y="453717"/>
                  <a:pt x="269941" y="465407"/>
                  <a:pt x="269941" y="479827"/>
                </a:cubicBezTo>
                <a:cubicBezTo>
                  <a:pt x="269941" y="494249"/>
                  <a:pt x="258251" y="505939"/>
                  <a:pt x="243830" y="505939"/>
                </a:cubicBezTo>
                <a:cubicBezTo>
                  <a:pt x="229409" y="505939"/>
                  <a:pt x="217719" y="494249"/>
                  <a:pt x="217719" y="479827"/>
                </a:cubicBezTo>
                <a:cubicBezTo>
                  <a:pt x="217719" y="465407"/>
                  <a:pt x="229409" y="453717"/>
                  <a:pt x="243830" y="453717"/>
                </a:cubicBezTo>
                <a:close/>
                <a:moveTo>
                  <a:pt x="461544" y="453717"/>
                </a:moveTo>
                <a:cubicBezTo>
                  <a:pt x="475965" y="453717"/>
                  <a:pt x="487655" y="465407"/>
                  <a:pt x="487655" y="479827"/>
                </a:cubicBezTo>
                <a:cubicBezTo>
                  <a:pt x="487655" y="494249"/>
                  <a:pt x="475965" y="505939"/>
                  <a:pt x="461544" y="505939"/>
                </a:cubicBezTo>
                <a:cubicBezTo>
                  <a:pt x="447123" y="505939"/>
                  <a:pt x="435433" y="494249"/>
                  <a:pt x="435433" y="479827"/>
                </a:cubicBezTo>
                <a:cubicBezTo>
                  <a:pt x="435433" y="465407"/>
                  <a:pt x="447123" y="453717"/>
                  <a:pt x="461544" y="453717"/>
                </a:cubicBezTo>
                <a:close/>
                <a:moveTo>
                  <a:pt x="679258" y="453717"/>
                </a:moveTo>
                <a:cubicBezTo>
                  <a:pt x="693679" y="453717"/>
                  <a:pt x="705369" y="465407"/>
                  <a:pt x="705369" y="479827"/>
                </a:cubicBezTo>
                <a:cubicBezTo>
                  <a:pt x="705369" y="494249"/>
                  <a:pt x="693679" y="505939"/>
                  <a:pt x="679258" y="505939"/>
                </a:cubicBezTo>
                <a:cubicBezTo>
                  <a:pt x="664837" y="505939"/>
                  <a:pt x="653147" y="494249"/>
                  <a:pt x="653147" y="479827"/>
                </a:cubicBezTo>
                <a:cubicBezTo>
                  <a:pt x="653147" y="465407"/>
                  <a:pt x="664837" y="453717"/>
                  <a:pt x="679258" y="453717"/>
                </a:cubicBezTo>
                <a:close/>
                <a:moveTo>
                  <a:pt x="896973" y="453717"/>
                </a:moveTo>
                <a:cubicBezTo>
                  <a:pt x="911394" y="453717"/>
                  <a:pt x="923084" y="465406"/>
                  <a:pt x="923084" y="479827"/>
                </a:cubicBezTo>
                <a:cubicBezTo>
                  <a:pt x="923084" y="494248"/>
                  <a:pt x="911394" y="505939"/>
                  <a:pt x="896973" y="505939"/>
                </a:cubicBezTo>
                <a:cubicBezTo>
                  <a:pt x="882552" y="505939"/>
                  <a:pt x="870862" y="494248"/>
                  <a:pt x="870862" y="479827"/>
                </a:cubicBezTo>
                <a:cubicBezTo>
                  <a:pt x="870862" y="465406"/>
                  <a:pt x="882552" y="453717"/>
                  <a:pt x="896973" y="453717"/>
                </a:cubicBezTo>
                <a:close/>
                <a:moveTo>
                  <a:pt x="1114687" y="453717"/>
                </a:moveTo>
                <a:cubicBezTo>
                  <a:pt x="1129108" y="453717"/>
                  <a:pt x="1140798" y="465406"/>
                  <a:pt x="1140798" y="479827"/>
                </a:cubicBezTo>
                <a:cubicBezTo>
                  <a:pt x="1140798" y="494248"/>
                  <a:pt x="1129108" y="505938"/>
                  <a:pt x="1114687" y="505938"/>
                </a:cubicBezTo>
                <a:cubicBezTo>
                  <a:pt x="1100266" y="505938"/>
                  <a:pt x="1088576" y="494248"/>
                  <a:pt x="1088576" y="479827"/>
                </a:cubicBezTo>
                <a:cubicBezTo>
                  <a:pt x="1088576" y="465406"/>
                  <a:pt x="1100266" y="453717"/>
                  <a:pt x="1114687" y="453717"/>
                </a:cubicBezTo>
                <a:close/>
                <a:moveTo>
                  <a:pt x="1332400" y="453716"/>
                </a:moveTo>
                <a:cubicBezTo>
                  <a:pt x="1346821" y="453716"/>
                  <a:pt x="1358511" y="465406"/>
                  <a:pt x="1358511" y="479827"/>
                </a:cubicBezTo>
                <a:cubicBezTo>
                  <a:pt x="1358511" y="494248"/>
                  <a:pt x="1346821" y="505938"/>
                  <a:pt x="1332400" y="505938"/>
                </a:cubicBezTo>
                <a:cubicBezTo>
                  <a:pt x="1317979" y="505938"/>
                  <a:pt x="1306289" y="494248"/>
                  <a:pt x="1306289" y="479827"/>
                </a:cubicBezTo>
                <a:cubicBezTo>
                  <a:pt x="1306289" y="465406"/>
                  <a:pt x="1317979" y="453716"/>
                  <a:pt x="1332400" y="453716"/>
                </a:cubicBezTo>
                <a:close/>
                <a:moveTo>
                  <a:pt x="1550114" y="453716"/>
                </a:moveTo>
                <a:cubicBezTo>
                  <a:pt x="1564535" y="453716"/>
                  <a:pt x="1576225" y="465406"/>
                  <a:pt x="1576225" y="479827"/>
                </a:cubicBezTo>
                <a:cubicBezTo>
                  <a:pt x="1576225" y="494248"/>
                  <a:pt x="1564535" y="505938"/>
                  <a:pt x="1550114" y="505938"/>
                </a:cubicBezTo>
                <a:cubicBezTo>
                  <a:pt x="1535693" y="505938"/>
                  <a:pt x="1524003" y="494248"/>
                  <a:pt x="1524003" y="479827"/>
                </a:cubicBezTo>
                <a:cubicBezTo>
                  <a:pt x="1524003" y="465406"/>
                  <a:pt x="1535693" y="453716"/>
                  <a:pt x="1550114" y="453716"/>
                </a:cubicBezTo>
                <a:close/>
                <a:moveTo>
                  <a:pt x="1114688" y="226858"/>
                </a:moveTo>
                <a:cubicBezTo>
                  <a:pt x="1129109" y="226858"/>
                  <a:pt x="1140799" y="238548"/>
                  <a:pt x="1140799" y="252969"/>
                </a:cubicBezTo>
                <a:cubicBezTo>
                  <a:pt x="1140799" y="267390"/>
                  <a:pt x="1129109" y="279080"/>
                  <a:pt x="1114688" y="279080"/>
                </a:cubicBezTo>
                <a:cubicBezTo>
                  <a:pt x="1100267" y="279080"/>
                  <a:pt x="1088577" y="267390"/>
                  <a:pt x="1088577" y="252969"/>
                </a:cubicBezTo>
                <a:cubicBezTo>
                  <a:pt x="1088577" y="238548"/>
                  <a:pt x="1100267" y="226858"/>
                  <a:pt x="1114688" y="226858"/>
                </a:cubicBezTo>
                <a:close/>
                <a:moveTo>
                  <a:pt x="896974" y="226858"/>
                </a:moveTo>
                <a:cubicBezTo>
                  <a:pt x="911395" y="226858"/>
                  <a:pt x="923085" y="238548"/>
                  <a:pt x="923085" y="252969"/>
                </a:cubicBezTo>
                <a:cubicBezTo>
                  <a:pt x="923085" y="267390"/>
                  <a:pt x="911395" y="279080"/>
                  <a:pt x="896974" y="279080"/>
                </a:cubicBezTo>
                <a:cubicBezTo>
                  <a:pt x="882553" y="279080"/>
                  <a:pt x="870863" y="267390"/>
                  <a:pt x="870863" y="252969"/>
                </a:cubicBezTo>
                <a:cubicBezTo>
                  <a:pt x="870863" y="238548"/>
                  <a:pt x="882553" y="226858"/>
                  <a:pt x="896974" y="226858"/>
                </a:cubicBezTo>
                <a:close/>
                <a:moveTo>
                  <a:pt x="679259" y="226858"/>
                </a:moveTo>
                <a:cubicBezTo>
                  <a:pt x="693680" y="226858"/>
                  <a:pt x="705370" y="238548"/>
                  <a:pt x="705370" y="252970"/>
                </a:cubicBezTo>
                <a:cubicBezTo>
                  <a:pt x="705370" y="267391"/>
                  <a:pt x="693680" y="279080"/>
                  <a:pt x="679259" y="279080"/>
                </a:cubicBezTo>
                <a:cubicBezTo>
                  <a:pt x="664838" y="279080"/>
                  <a:pt x="653148" y="267391"/>
                  <a:pt x="653148" y="252970"/>
                </a:cubicBezTo>
                <a:cubicBezTo>
                  <a:pt x="653148" y="238548"/>
                  <a:pt x="664838" y="226858"/>
                  <a:pt x="679259" y="226858"/>
                </a:cubicBezTo>
                <a:close/>
                <a:moveTo>
                  <a:pt x="461545" y="226858"/>
                </a:moveTo>
                <a:cubicBezTo>
                  <a:pt x="475966" y="226858"/>
                  <a:pt x="487656" y="238549"/>
                  <a:pt x="487656" y="252970"/>
                </a:cubicBezTo>
                <a:cubicBezTo>
                  <a:pt x="487656" y="267391"/>
                  <a:pt x="475966" y="279081"/>
                  <a:pt x="461545" y="279081"/>
                </a:cubicBezTo>
                <a:cubicBezTo>
                  <a:pt x="447124" y="279081"/>
                  <a:pt x="435434" y="267391"/>
                  <a:pt x="435434" y="252970"/>
                </a:cubicBezTo>
                <a:cubicBezTo>
                  <a:pt x="435434" y="238549"/>
                  <a:pt x="447124" y="226858"/>
                  <a:pt x="461545" y="226858"/>
                </a:cubicBezTo>
                <a:close/>
                <a:moveTo>
                  <a:pt x="243831" y="226858"/>
                </a:moveTo>
                <a:cubicBezTo>
                  <a:pt x="258252" y="226858"/>
                  <a:pt x="269942" y="238549"/>
                  <a:pt x="269942" y="252970"/>
                </a:cubicBezTo>
                <a:cubicBezTo>
                  <a:pt x="269942" y="267391"/>
                  <a:pt x="258252" y="279081"/>
                  <a:pt x="243831" y="279081"/>
                </a:cubicBezTo>
                <a:cubicBezTo>
                  <a:pt x="229410" y="279081"/>
                  <a:pt x="217720" y="267391"/>
                  <a:pt x="217720" y="252970"/>
                </a:cubicBezTo>
                <a:cubicBezTo>
                  <a:pt x="217720" y="238549"/>
                  <a:pt x="229410" y="226858"/>
                  <a:pt x="243831" y="226858"/>
                </a:cubicBezTo>
                <a:close/>
                <a:moveTo>
                  <a:pt x="26117" y="226858"/>
                </a:moveTo>
                <a:cubicBezTo>
                  <a:pt x="40538" y="226858"/>
                  <a:pt x="52228" y="238549"/>
                  <a:pt x="52228" y="252970"/>
                </a:cubicBezTo>
                <a:cubicBezTo>
                  <a:pt x="52228" y="267391"/>
                  <a:pt x="40538" y="279081"/>
                  <a:pt x="26117" y="279081"/>
                </a:cubicBezTo>
                <a:cubicBezTo>
                  <a:pt x="11696" y="279081"/>
                  <a:pt x="6" y="267391"/>
                  <a:pt x="6" y="252970"/>
                </a:cubicBezTo>
                <a:cubicBezTo>
                  <a:pt x="6" y="238549"/>
                  <a:pt x="11696" y="226858"/>
                  <a:pt x="26117" y="226858"/>
                </a:cubicBezTo>
                <a:close/>
                <a:moveTo>
                  <a:pt x="1332401" y="226858"/>
                </a:moveTo>
                <a:cubicBezTo>
                  <a:pt x="1346822" y="226858"/>
                  <a:pt x="1358512" y="238548"/>
                  <a:pt x="1358512" y="252969"/>
                </a:cubicBezTo>
                <a:cubicBezTo>
                  <a:pt x="1358512" y="267390"/>
                  <a:pt x="1346822" y="279080"/>
                  <a:pt x="1332401" y="279080"/>
                </a:cubicBezTo>
                <a:cubicBezTo>
                  <a:pt x="1317980" y="279080"/>
                  <a:pt x="1306290" y="267390"/>
                  <a:pt x="1306290" y="252969"/>
                </a:cubicBezTo>
                <a:cubicBezTo>
                  <a:pt x="1306290" y="238548"/>
                  <a:pt x="1317980" y="226858"/>
                  <a:pt x="1332401" y="226858"/>
                </a:cubicBezTo>
                <a:close/>
                <a:moveTo>
                  <a:pt x="1550115" y="226858"/>
                </a:moveTo>
                <a:cubicBezTo>
                  <a:pt x="1564536" y="226858"/>
                  <a:pt x="1576226" y="238548"/>
                  <a:pt x="1576226" y="252969"/>
                </a:cubicBezTo>
                <a:cubicBezTo>
                  <a:pt x="1576226" y="267390"/>
                  <a:pt x="1564536" y="279080"/>
                  <a:pt x="1550115" y="279080"/>
                </a:cubicBezTo>
                <a:cubicBezTo>
                  <a:pt x="1535694" y="279080"/>
                  <a:pt x="1524004" y="267390"/>
                  <a:pt x="1524004" y="252969"/>
                </a:cubicBezTo>
                <a:cubicBezTo>
                  <a:pt x="1524004" y="238548"/>
                  <a:pt x="1535694" y="226858"/>
                  <a:pt x="1550115" y="226858"/>
                </a:cubicBezTo>
                <a:close/>
                <a:moveTo>
                  <a:pt x="26117" y="2"/>
                </a:moveTo>
                <a:cubicBezTo>
                  <a:pt x="40538" y="2"/>
                  <a:pt x="52228" y="11692"/>
                  <a:pt x="52228" y="26113"/>
                </a:cubicBezTo>
                <a:cubicBezTo>
                  <a:pt x="52228" y="40534"/>
                  <a:pt x="40538" y="52224"/>
                  <a:pt x="26117" y="52224"/>
                </a:cubicBezTo>
                <a:cubicBezTo>
                  <a:pt x="11696" y="52224"/>
                  <a:pt x="6" y="40534"/>
                  <a:pt x="6" y="26113"/>
                </a:cubicBezTo>
                <a:cubicBezTo>
                  <a:pt x="6" y="11692"/>
                  <a:pt x="11696" y="2"/>
                  <a:pt x="26117" y="2"/>
                </a:cubicBezTo>
                <a:close/>
                <a:moveTo>
                  <a:pt x="243831" y="1"/>
                </a:moveTo>
                <a:cubicBezTo>
                  <a:pt x="258252" y="1"/>
                  <a:pt x="269942" y="11691"/>
                  <a:pt x="269942" y="26112"/>
                </a:cubicBezTo>
                <a:cubicBezTo>
                  <a:pt x="269942" y="40534"/>
                  <a:pt x="258252" y="52224"/>
                  <a:pt x="243831" y="52224"/>
                </a:cubicBezTo>
                <a:cubicBezTo>
                  <a:pt x="229410" y="52224"/>
                  <a:pt x="217720" y="40534"/>
                  <a:pt x="217720" y="26112"/>
                </a:cubicBezTo>
                <a:cubicBezTo>
                  <a:pt x="217720" y="11691"/>
                  <a:pt x="229410" y="1"/>
                  <a:pt x="243831" y="1"/>
                </a:cubicBezTo>
                <a:close/>
                <a:moveTo>
                  <a:pt x="461545" y="1"/>
                </a:moveTo>
                <a:cubicBezTo>
                  <a:pt x="475966" y="1"/>
                  <a:pt x="487656" y="11691"/>
                  <a:pt x="487656" y="26112"/>
                </a:cubicBezTo>
                <a:cubicBezTo>
                  <a:pt x="487656" y="40534"/>
                  <a:pt x="475966" y="52224"/>
                  <a:pt x="461545" y="52224"/>
                </a:cubicBezTo>
                <a:cubicBezTo>
                  <a:pt x="447124" y="52224"/>
                  <a:pt x="435434" y="40534"/>
                  <a:pt x="435434" y="26112"/>
                </a:cubicBezTo>
                <a:cubicBezTo>
                  <a:pt x="435434" y="11691"/>
                  <a:pt x="447124" y="1"/>
                  <a:pt x="461545" y="1"/>
                </a:cubicBezTo>
                <a:close/>
                <a:moveTo>
                  <a:pt x="679259" y="1"/>
                </a:moveTo>
                <a:cubicBezTo>
                  <a:pt x="693680" y="1"/>
                  <a:pt x="705370" y="11691"/>
                  <a:pt x="705370" y="26112"/>
                </a:cubicBezTo>
                <a:cubicBezTo>
                  <a:pt x="705370" y="40533"/>
                  <a:pt x="693680" y="52223"/>
                  <a:pt x="679259" y="52223"/>
                </a:cubicBezTo>
                <a:cubicBezTo>
                  <a:pt x="664838" y="52223"/>
                  <a:pt x="653148" y="40533"/>
                  <a:pt x="653148" y="26112"/>
                </a:cubicBezTo>
                <a:cubicBezTo>
                  <a:pt x="653148" y="11691"/>
                  <a:pt x="664838" y="1"/>
                  <a:pt x="679259" y="1"/>
                </a:cubicBezTo>
                <a:close/>
                <a:moveTo>
                  <a:pt x="896974" y="1"/>
                </a:moveTo>
                <a:cubicBezTo>
                  <a:pt x="911395" y="1"/>
                  <a:pt x="923085" y="11691"/>
                  <a:pt x="923085" y="26112"/>
                </a:cubicBezTo>
                <a:cubicBezTo>
                  <a:pt x="923085" y="40533"/>
                  <a:pt x="911395" y="52223"/>
                  <a:pt x="896974" y="52223"/>
                </a:cubicBezTo>
                <a:cubicBezTo>
                  <a:pt x="882553" y="52223"/>
                  <a:pt x="870863" y="40533"/>
                  <a:pt x="870863" y="26112"/>
                </a:cubicBezTo>
                <a:cubicBezTo>
                  <a:pt x="870863" y="11691"/>
                  <a:pt x="882553" y="1"/>
                  <a:pt x="896974" y="1"/>
                </a:cubicBezTo>
                <a:close/>
                <a:moveTo>
                  <a:pt x="1114688" y="1"/>
                </a:moveTo>
                <a:cubicBezTo>
                  <a:pt x="1129109" y="1"/>
                  <a:pt x="1140799" y="11691"/>
                  <a:pt x="1140799" y="26112"/>
                </a:cubicBezTo>
                <a:cubicBezTo>
                  <a:pt x="1140799" y="40533"/>
                  <a:pt x="1129109" y="52223"/>
                  <a:pt x="1114688" y="52223"/>
                </a:cubicBezTo>
                <a:cubicBezTo>
                  <a:pt x="1100267" y="52223"/>
                  <a:pt x="1088577" y="40533"/>
                  <a:pt x="1088577" y="26112"/>
                </a:cubicBezTo>
                <a:cubicBezTo>
                  <a:pt x="1088577" y="11691"/>
                  <a:pt x="1100267" y="1"/>
                  <a:pt x="1114688" y="1"/>
                </a:cubicBezTo>
                <a:close/>
                <a:moveTo>
                  <a:pt x="1332401" y="0"/>
                </a:moveTo>
                <a:cubicBezTo>
                  <a:pt x="1346822" y="0"/>
                  <a:pt x="1358512" y="11690"/>
                  <a:pt x="1358512" y="26111"/>
                </a:cubicBezTo>
                <a:cubicBezTo>
                  <a:pt x="1358512" y="40533"/>
                  <a:pt x="1346822" y="52223"/>
                  <a:pt x="1332401" y="52223"/>
                </a:cubicBezTo>
                <a:cubicBezTo>
                  <a:pt x="1317980" y="52223"/>
                  <a:pt x="1306290" y="40533"/>
                  <a:pt x="1306290" y="26111"/>
                </a:cubicBezTo>
                <a:cubicBezTo>
                  <a:pt x="1306290" y="11690"/>
                  <a:pt x="1317980" y="0"/>
                  <a:pt x="1332401" y="0"/>
                </a:cubicBezTo>
                <a:close/>
                <a:moveTo>
                  <a:pt x="1550115" y="0"/>
                </a:moveTo>
                <a:cubicBezTo>
                  <a:pt x="1564536" y="0"/>
                  <a:pt x="1576226" y="11690"/>
                  <a:pt x="1576226" y="26111"/>
                </a:cubicBezTo>
                <a:cubicBezTo>
                  <a:pt x="1576226" y="40532"/>
                  <a:pt x="1564536" y="52222"/>
                  <a:pt x="1550115" y="52222"/>
                </a:cubicBezTo>
                <a:cubicBezTo>
                  <a:pt x="1535694" y="52222"/>
                  <a:pt x="1524004" y="40532"/>
                  <a:pt x="1524004" y="26111"/>
                </a:cubicBezTo>
                <a:cubicBezTo>
                  <a:pt x="1524004" y="11690"/>
                  <a:pt x="1535694" y="0"/>
                  <a:pt x="1550115" y="0"/>
                </a:cubicBezTo>
                <a:close/>
              </a:path>
            </a:pathLst>
          </a:custGeom>
          <a:solidFill>
            <a:schemeClr val="accent4">
              <a:alpha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id-ID" dirty="0"/>
          </a:p>
        </p:txBody>
      </p:sp>
      <p:pic>
        <p:nvPicPr>
          <p:cNvPr id="11" name="Picture 10"/>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9688286" y="0"/>
            <a:ext cx="2503714" cy="1524000"/>
          </a:xfrm>
          <a:prstGeom prst="rect">
            <a:avLst/>
          </a:prstGeom>
          <a:noFill/>
          <a:ln>
            <a:noFill/>
          </a:ln>
        </p:spPr>
      </p:pic>
      <p:pic>
        <p:nvPicPr>
          <p:cNvPr id="13" name="Picture 12"/>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1" y="1"/>
            <a:ext cx="2688771" cy="1524000"/>
          </a:xfrm>
          <a:prstGeom prst="rect">
            <a:avLst/>
          </a:prstGeom>
          <a:noFill/>
          <a:ln>
            <a:noFill/>
          </a:ln>
        </p:spPr>
      </p:pic>
    </p:spTree>
    <p:extLst>
      <p:ext uri="{BB962C8B-B14F-4D97-AF65-F5344CB8AC3E}">
        <p14:creationId xmlns:p14="http://schemas.microsoft.com/office/powerpoint/2010/main" val="321744467"/>
      </p:ext>
    </p:extLst>
  </p:cSld>
  <p:clrMapOvr>
    <a:masterClrMapping/>
  </p:clrMapOvr>
  <p:transition spd="slow">
    <p:push dir="u"/>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Graphic 1">
            <a:extLst>
              <a:ext uri="{FF2B5EF4-FFF2-40B4-BE49-F238E27FC236}">
                <a16:creationId xmlns:a16="http://schemas.microsoft.com/office/drawing/2014/main" id="{4CB438FC-0B3F-DF2F-883F-F4B96BC8E893}"/>
              </a:ext>
            </a:extLst>
          </p:cNvPr>
          <p:cNvPicPr>
            <a:picLocks noChangeAspect="1"/>
          </p:cNvPicPr>
          <p:nvPr/>
        </p:nvPicPr>
        <p:blipFill>
          <a:blip r:embed="rId2">
            <a:extLst>
              <a:ext uri="{96DAC541-7B7A-43D3-8B79-37D633B846F1}">
                <asvg:svgBlip xmlns:asvg="http://schemas.microsoft.com/office/drawing/2016/SVG/main" r:embed="rId3"/>
              </a:ext>
            </a:extLst>
          </a:blip>
          <a:srcRect l="39159" b="10273"/>
          <a:stretch>
            <a:fillRect/>
          </a:stretch>
        </p:blipFill>
        <p:spPr>
          <a:xfrm rot="4093658">
            <a:off x="98237" y="-782202"/>
            <a:ext cx="1595303" cy="2566593"/>
          </a:xfrm>
          <a:custGeom>
            <a:avLst/>
            <a:gdLst>
              <a:gd name="connsiteX0" fmla="*/ 0 w 1595303"/>
              <a:gd name="connsiteY0" fmla="*/ 1929410 h 2566593"/>
              <a:gd name="connsiteX1" fmla="*/ 770630 w 1595303"/>
              <a:gd name="connsiteY1" fmla="*/ 0 h 2566593"/>
              <a:gd name="connsiteX2" fmla="*/ 1595303 w 1595303"/>
              <a:gd name="connsiteY2" fmla="*/ 0 h 2566593"/>
              <a:gd name="connsiteX3" fmla="*/ 1595303 w 1595303"/>
              <a:gd name="connsiteY3" fmla="*/ 2566593 h 2566593"/>
            </a:gdLst>
            <a:ahLst/>
            <a:cxnLst>
              <a:cxn ang="0">
                <a:pos x="connsiteX0" y="connsiteY0"/>
              </a:cxn>
              <a:cxn ang="0">
                <a:pos x="connsiteX1" y="connsiteY1"/>
              </a:cxn>
              <a:cxn ang="0">
                <a:pos x="connsiteX2" y="connsiteY2"/>
              </a:cxn>
              <a:cxn ang="0">
                <a:pos x="connsiteX3" y="connsiteY3"/>
              </a:cxn>
            </a:cxnLst>
            <a:rect l="l" t="t" r="r" b="b"/>
            <a:pathLst>
              <a:path w="1595303" h="2566593">
                <a:moveTo>
                  <a:pt x="0" y="1929410"/>
                </a:moveTo>
                <a:lnTo>
                  <a:pt x="770630" y="0"/>
                </a:lnTo>
                <a:lnTo>
                  <a:pt x="1595303" y="0"/>
                </a:lnTo>
                <a:lnTo>
                  <a:pt x="1595303" y="2566593"/>
                </a:lnTo>
                <a:close/>
              </a:path>
            </a:pathLst>
          </a:custGeom>
          <a:effectLst>
            <a:outerShdw blurRad="635000" dist="952500" dir="5400000" sx="80000" sy="80000" algn="t" rotWithShape="0">
              <a:srgbClr val="EE9012">
                <a:alpha val="15000"/>
              </a:srgbClr>
            </a:outerShdw>
          </a:effectLst>
        </p:spPr>
      </p:pic>
      <p:pic>
        <p:nvPicPr>
          <p:cNvPr id="6" name="Picture 5" descr="A white text on a black background&#10;&#10;Description automatically generated with medium confidence">
            <a:extLst>
              <a:ext uri="{FF2B5EF4-FFF2-40B4-BE49-F238E27FC236}">
                <a16:creationId xmlns:a16="http://schemas.microsoft.com/office/drawing/2014/main" id="{BEB35A8B-C7D0-8360-E7C2-7DA43E333A6D}"/>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43264" y="152269"/>
            <a:ext cx="1305248" cy="749373"/>
          </a:xfrm>
          <a:prstGeom prst="rect">
            <a:avLst/>
          </a:prstGeom>
        </p:spPr>
      </p:pic>
      <p:pic>
        <p:nvPicPr>
          <p:cNvPr id="3" name="Graphic 2">
            <a:extLst>
              <a:ext uri="{FF2B5EF4-FFF2-40B4-BE49-F238E27FC236}">
                <a16:creationId xmlns:a16="http://schemas.microsoft.com/office/drawing/2014/main" id="{4DF6F3E9-11FE-9C69-1368-0382DEF48587}"/>
              </a:ext>
            </a:extLst>
          </p:cNvPr>
          <p:cNvPicPr>
            <a:picLocks noChangeAspect="1"/>
          </p:cNvPicPr>
          <p:nvPr/>
        </p:nvPicPr>
        <p:blipFill>
          <a:blip r:embed="rId5">
            <a:extLst>
              <a:ext uri="{96DAC541-7B7A-43D3-8B79-37D633B846F1}">
                <asvg:svgBlip xmlns:asvg="http://schemas.microsoft.com/office/drawing/2016/SVG/main" r:embed="rId6"/>
              </a:ext>
            </a:extLst>
          </a:blip>
          <a:srcRect l="39159" b="10273"/>
          <a:stretch>
            <a:fillRect/>
          </a:stretch>
        </p:blipFill>
        <p:spPr>
          <a:xfrm rot="4093658">
            <a:off x="130661" y="-1124350"/>
            <a:ext cx="2327993" cy="3745377"/>
          </a:xfrm>
          <a:custGeom>
            <a:avLst/>
            <a:gdLst>
              <a:gd name="connsiteX0" fmla="*/ 0 w 1595303"/>
              <a:gd name="connsiteY0" fmla="*/ 1929410 h 2566593"/>
              <a:gd name="connsiteX1" fmla="*/ 770630 w 1595303"/>
              <a:gd name="connsiteY1" fmla="*/ 0 h 2566593"/>
              <a:gd name="connsiteX2" fmla="*/ 1595303 w 1595303"/>
              <a:gd name="connsiteY2" fmla="*/ 0 h 2566593"/>
              <a:gd name="connsiteX3" fmla="*/ 1595303 w 1595303"/>
              <a:gd name="connsiteY3" fmla="*/ 2566593 h 2566593"/>
            </a:gdLst>
            <a:ahLst/>
            <a:cxnLst>
              <a:cxn ang="0">
                <a:pos x="connsiteX0" y="connsiteY0"/>
              </a:cxn>
              <a:cxn ang="0">
                <a:pos x="connsiteX1" y="connsiteY1"/>
              </a:cxn>
              <a:cxn ang="0">
                <a:pos x="connsiteX2" y="connsiteY2"/>
              </a:cxn>
              <a:cxn ang="0">
                <a:pos x="connsiteX3" y="connsiteY3"/>
              </a:cxn>
            </a:cxnLst>
            <a:rect l="l" t="t" r="r" b="b"/>
            <a:pathLst>
              <a:path w="1595303" h="2566593">
                <a:moveTo>
                  <a:pt x="0" y="1929410"/>
                </a:moveTo>
                <a:lnTo>
                  <a:pt x="770630" y="0"/>
                </a:lnTo>
                <a:lnTo>
                  <a:pt x="1595303" y="0"/>
                </a:lnTo>
                <a:lnTo>
                  <a:pt x="1595303" y="2566593"/>
                </a:lnTo>
                <a:close/>
              </a:path>
            </a:pathLst>
          </a:custGeom>
          <a:effectLst>
            <a:outerShdw blurRad="406400" dist="114300" dir="6420000" sx="89000" sy="89000" algn="t" rotWithShape="0">
              <a:srgbClr val="EE9012">
                <a:alpha val="62000"/>
              </a:srgbClr>
            </a:outerShdw>
          </a:effectLst>
        </p:spPr>
      </p:pic>
      <p:sp>
        <p:nvSpPr>
          <p:cNvPr id="7" name="Freeform: Shape 6">
            <a:extLst>
              <a:ext uri="{FF2B5EF4-FFF2-40B4-BE49-F238E27FC236}">
                <a16:creationId xmlns:a16="http://schemas.microsoft.com/office/drawing/2014/main" id="{F18F53BE-3CAE-DCE0-8A30-A02B87E43E40}"/>
              </a:ext>
            </a:extLst>
          </p:cNvPr>
          <p:cNvSpPr/>
          <p:nvPr/>
        </p:nvSpPr>
        <p:spPr>
          <a:xfrm>
            <a:off x="11080257" y="385"/>
            <a:ext cx="1120557" cy="1166056"/>
          </a:xfrm>
          <a:custGeom>
            <a:avLst/>
            <a:gdLst>
              <a:gd name="connsiteX0" fmla="*/ 1550109 w 1576226"/>
              <a:gd name="connsiteY0" fmla="*/ 1588006 h 1640228"/>
              <a:gd name="connsiteX1" fmla="*/ 1576220 w 1576226"/>
              <a:gd name="connsiteY1" fmla="*/ 1614117 h 1640228"/>
              <a:gd name="connsiteX2" fmla="*/ 1550109 w 1576226"/>
              <a:gd name="connsiteY2" fmla="*/ 1640228 h 1640228"/>
              <a:gd name="connsiteX3" fmla="*/ 1523998 w 1576226"/>
              <a:gd name="connsiteY3" fmla="*/ 1614117 h 1640228"/>
              <a:gd name="connsiteX4" fmla="*/ 1550109 w 1576226"/>
              <a:gd name="connsiteY4" fmla="*/ 1588006 h 1640228"/>
              <a:gd name="connsiteX5" fmla="*/ 1332395 w 1576226"/>
              <a:gd name="connsiteY5" fmla="*/ 1588006 h 1640228"/>
              <a:gd name="connsiteX6" fmla="*/ 1358506 w 1576226"/>
              <a:gd name="connsiteY6" fmla="*/ 1614117 h 1640228"/>
              <a:gd name="connsiteX7" fmla="*/ 1332395 w 1576226"/>
              <a:gd name="connsiteY7" fmla="*/ 1640228 h 1640228"/>
              <a:gd name="connsiteX8" fmla="*/ 1306284 w 1576226"/>
              <a:gd name="connsiteY8" fmla="*/ 1614117 h 1640228"/>
              <a:gd name="connsiteX9" fmla="*/ 1332395 w 1576226"/>
              <a:gd name="connsiteY9" fmla="*/ 1588006 h 1640228"/>
              <a:gd name="connsiteX10" fmla="*/ 1114682 w 1576226"/>
              <a:gd name="connsiteY10" fmla="*/ 1588006 h 1640228"/>
              <a:gd name="connsiteX11" fmla="*/ 1140793 w 1576226"/>
              <a:gd name="connsiteY11" fmla="*/ 1614117 h 1640228"/>
              <a:gd name="connsiteX12" fmla="*/ 1114682 w 1576226"/>
              <a:gd name="connsiteY12" fmla="*/ 1640228 h 1640228"/>
              <a:gd name="connsiteX13" fmla="*/ 1088571 w 1576226"/>
              <a:gd name="connsiteY13" fmla="*/ 1614117 h 1640228"/>
              <a:gd name="connsiteX14" fmla="*/ 1114682 w 1576226"/>
              <a:gd name="connsiteY14" fmla="*/ 1588006 h 1640228"/>
              <a:gd name="connsiteX15" fmla="*/ 896968 w 1576226"/>
              <a:gd name="connsiteY15" fmla="*/ 1588006 h 1640228"/>
              <a:gd name="connsiteX16" fmla="*/ 923079 w 1576226"/>
              <a:gd name="connsiteY16" fmla="*/ 1614117 h 1640228"/>
              <a:gd name="connsiteX17" fmla="*/ 896968 w 1576226"/>
              <a:gd name="connsiteY17" fmla="*/ 1640228 h 1640228"/>
              <a:gd name="connsiteX18" fmla="*/ 870857 w 1576226"/>
              <a:gd name="connsiteY18" fmla="*/ 1614117 h 1640228"/>
              <a:gd name="connsiteX19" fmla="*/ 896968 w 1576226"/>
              <a:gd name="connsiteY19" fmla="*/ 1588006 h 1640228"/>
              <a:gd name="connsiteX20" fmla="*/ 679253 w 1576226"/>
              <a:gd name="connsiteY20" fmla="*/ 1588006 h 1640228"/>
              <a:gd name="connsiteX21" fmla="*/ 705364 w 1576226"/>
              <a:gd name="connsiteY21" fmla="*/ 1614117 h 1640228"/>
              <a:gd name="connsiteX22" fmla="*/ 679253 w 1576226"/>
              <a:gd name="connsiteY22" fmla="*/ 1640228 h 1640228"/>
              <a:gd name="connsiteX23" fmla="*/ 653142 w 1576226"/>
              <a:gd name="connsiteY23" fmla="*/ 1614117 h 1640228"/>
              <a:gd name="connsiteX24" fmla="*/ 679253 w 1576226"/>
              <a:gd name="connsiteY24" fmla="*/ 1588006 h 1640228"/>
              <a:gd name="connsiteX25" fmla="*/ 461539 w 1576226"/>
              <a:gd name="connsiteY25" fmla="*/ 1588006 h 1640228"/>
              <a:gd name="connsiteX26" fmla="*/ 487650 w 1576226"/>
              <a:gd name="connsiteY26" fmla="*/ 1614117 h 1640228"/>
              <a:gd name="connsiteX27" fmla="*/ 461539 w 1576226"/>
              <a:gd name="connsiteY27" fmla="*/ 1640228 h 1640228"/>
              <a:gd name="connsiteX28" fmla="*/ 435428 w 1576226"/>
              <a:gd name="connsiteY28" fmla="*/ 1614117 h 1640228"/>
              <a:gd name="connsiteX29" fmla="*/ 461539 w 1576226"/>
              <a:gd name="connsiteY29" fmla="*/ 1588006 h 1640228"/>
              <a:gd name="connsiteX30" fmla="*/ 243825 w 1576226"/>
              <a:gd name="connsiteY30" fmla="*/ 1588006 h 1640228"/>
              <a:gd name="connsiteX31" fmla="*/ 269936 w 1576226"/>
              <a:gd name="connsiteY31" fmla="*/ 1614117 h 1640228"/>
              <a:gd name="connsiteX32" fmla="*/ 243825 w 1576226"/>
              <a:gd name="connsiteY32" fmla="*/ 1640228 h 1640228"/>
              <a:gd name="connsiteX33" fmla="*/ 217714 w 1576226"/>
              <a:gd name="connsiteY33" fmla="*/ 1614117 h 1640228"/>
              <a:gd name="connsiteX34" fmla="*/ 243825 w 1576226"/>
              <a:gd name="connsiteY34" fmla="*/ 1588006 h 1640228"/>
              <a:gd name="connsiteX35" fmla="*/ 26111 w 1576226"/>
              <a:gd name="connsiteY35" fmla="*/ 1588006 h 1640228"/>
              <a:gd name="connsiteX36" fmla="*/ 52222 w 1576226"/>
              <a:gd name="connsiteY36" fmla="*/ 1614117 h 1640228"/>
              <a:gd name="connsiteX37" fmla="*/ 26111 w 1576226"/>
              <a:gd name="connsiteY37" fmla="*/ 1640228 h 1640228"/>
              <a:gd name="connsiteX38" fmla="*/ 0 w 1576226"/>
              <a:gd name="connsiteY38" fmla="*/ 1614117 h 1640228"/>
              <a:gd name="connsiteX39" fmla="*/ 26111 w 1576226"/>
              <a:gd name="connsiteY39" fmla="*/ 1588006 h 1640228"/>
              <a:gd name="connsiteX40" fmla="*/ 1550110 w 1576226"/>
              <a:gd name="connsiteY40" fmla="*/ 1361148 h 1640228"/>
              <a:gd name="connsiteX41" fmla="*/ 1576221 w 1576226"/>
              <a:gd name="connsiteY41" fmla="*/ 1387259 h 1640228"/>
              <a:gd name="connsiteX42" fmla="*/ 1550110 w 1576226"/>
              <a:gd name="connsiteY42" fmla="*/ 1413370 h 1640228"/>
              <a:gd name="connsiteX43" fmla="*/ 1523999 w 1576226"/>
              <a:gd name="connsiteY43" fmla="*/ 1387259 h 1640228"/>
              <a:gd name="connsiteX44" fmla="*/ 1550110 w 1576226"/>
              <a:gd name="connsiteY44" fmla="*/ 1361148 h 1640228"/>
              <a:gd name="connsiteX45" fmla="*/ 1332396 w 1576226"/>
              <a:gd name="connsiteY45" fmla="*/ 1361148 h 1640228"/>
              <a:gd name="connsiteX46" fmla="*/ 1358507 w 1576226"/>
              <a:gd name="connsiteY46" fmla="*/ 1387259 h 1640228"/>
              <a:gd name="connsiteX47" fmla="*/ 1332396 w 1576226"/>
              <a:gd name="connsiteY47" fmla="*/ 1413370 h 1640228"/>
              <a:gd name="connsiteX48" fmla="*/ 1306285 w 1576226"/>
              <a:gd name="connsiteY48" fmla="*/ 1387259 h 1640228"/>
              <a:gd name="connsiteX49" fmla="*/ 1332396 w 1576226"/>
              <a:gd name="connsiteY49" fmla="*/ 1361148 h 1640228"/>
              <a:gd name="connsiteX50" fmla="*/ 1114683 w 1576226"/>
              <a:gd name="connsiteY50" fmla="*/ 1361148 h 1640228"/>
              <a:gd name="connsiteX51" fmla="*/ 1140794 w 1576226"/>
              <a:gd name="connsiteY51" fmla="*/ 1387259 h 1640228"/>
              <a:gd name="connsiteX52" fmla="*/ 1114683 w 1576226"/>
              <a:gd name="connsiteY52" fmla="*/ 1413370 h 1640228"/>
              <a:gd name="connsiteX53" fmla="*/ 1088572 w 1576226"/>
              <a:gd name="connsiteY53" fmla="*/ 1387259 h 1640228"/>
              <a:gd name="connsiteX54" fmla="*/ 1114683 w 1576226"/>
              <a:gd name="connsiteY54" fmla="*/ 1361148 h 1640228"/>
              <a:gd name="connsiteX55" fmla="*/ 896969 w 1576226"/>
              <a:gd name="connsiteY55" fmla="*/ 1361148 h 1640228"/>
              <a:gd name="connsiteX56" fmla="*/ 923080 w 1576226"/>
              <a:gd name="connsiteY56" fmla="*/ 1387259 h 1640228"/>
              <a:gd name="connsiteX57" fmla="*/ 896969 w 1576226"/>
              <a:gd name="connsiteY57" fmla="*/ 1413370 h 1640228"/>
              <a:gd name="connsiteX58" fmla="*/ 870858 w 1576226"/>
              <a:gd name="connsiteY58" fmla="*/ 1387259 h 1640228"/>
              <a:gd name="connsiteX59" fmla="*/ 896969 w 1576226"/>
              <a:gd name="connsiteY59" fmla="*/ 1361148 h 1640228"/>
              <a:gd name="connsiteX60" fmla="*/ 679254 w 1576226"/>
              <a:gd name="connsiteY60" fmla="*/ 1361148 h 1640228"/>
              <a:gd name="connsiteX61" fmla="*/ 705365 w 1576226"/>
              <a:gd name="connsiteY61" fmla="*/ 1387259 h 1640228"/>
              <a:gd name="connsiteX62" fmla="*/ 679254 w 1576226"/>
              <a:gd name="connsiteY62" fmla="*/ 1413370 h 1640228"/>
              <a:gd name="connsiteX63" fmla="*/ 653143 w 1576226"/>
              <a:gd name="connsiteY63" fmla="*/ 1387259 h 1640228"/>
              <a:gd name="connsiteX64" fmla="*/ 679254 w 1576226"/>
              <a:gd name="connsiteY64" fmla="*/ 1361148 h 1640228"/>
              <a:gd name="connsiteX65" fmla="*/ 461540 w 1576226"/>
              <a:gd name="connsiteY65" fmla="*/ 1361148 h 1640228"/>
              <a:gd name="connsiteX66" fmla="*/ 487651 w 1576226"/>
              <a:gd name="connsiteY66" fmla="*/ 1387259 h 1640228"/>
              <a:gd name="connsiteX67" fmla="*/ 461540 w 1576226"/>
              <a:gd name="connsiteY67" fmla="*/ 1413370 h 1640228"/>
              <a:gd name="connsiteX68" fmla="*/ 435429 w 1576226"/>
              <a:gd name="connsiteY68" fmla="*/ 1387259 h 1640228"/>
              <a:gd name="connsiteX69" fmla="*/ 461540 w 1576226"/>
              <a:gd name="connsiteY69" fmla="*/ 1361148 h 1640228"/>
              <a:gd name="connsiteX70" fmla="*/ 243826 w 1576226"/>
              <a:gd name="connsiteY70" fmla="*/ 1361148 h 1640228"/>
              <a:gd name="connsiteX71" fmla="*/ 269937 w 1576226"/>
              <a:gd name="connsiteY71" fmla="*/ 1387259 h 1640228"/>
              <a:gd name="connsiteX72" fmla="*/ 243826 w 1576226"/>
              <a:gd name="connsiteY72" fmla="*/ 1413370 h 1640228"/>
              <a:gd name="connsiteX73" fmla="*/ 217715 w 1576226"/>
              <a:gd name="connsiteY73" fmla="*/ 1387259 h 1640228"/>
              <a:gd name="connsiteX74" fmla="*/ 243826 w 1576226"/>
              <a:gd name="connsiteY74" fmla="*/ 1361148 h 1640228"/>
              <a:gd name="connsiteX75" fmla="*/ 26112 w 1576226"/>
              <a:gd name="connsiteY75" fmla="*/ 1361148 h 1640228"/>
              <a:gd name="connsiteX76" fmla="*/ 52223 w 1576226"/>
              <a:gd name="connsiteY76" fmla="*/ 1387259 h 1640228"/>
              <a:gd name="connsiteX77" fmla="*/ 26112 w 1576226"/>
              <a:gd name="connsiteY77" fmla="*/ 1413370 h 1640228"/>
              <a:gd name="connsiteX78" fmla="*/ 1 w 1576226"/>
              <a:gd name="connsiteY78" fmla="*/ 1387259 h 1640228"/>
              <a:gd name="connsiteX79" fmla="*/ 26112 w 1576226"/>
              <a:gd name="connsiteY79" fmla="*/ 1361148 h 1640228"/>
              <a:gd name="connsiteX80" fmla="*/ 1550111 w 1576226"/>
              <a:gd name="connsiteY80" fmla="*/ 1134290 h 1640228"/>
              <a:gd name="connsiteX81" fmla="*/ 1576222 w 1576226"/>
              <a:gd name="connsiteY81" fmla="*/ 1160401 h 1640228"/>
              <a:gd name="connsiteX82" fmla="*/ 1550111 w 1576226"/>
              <a:gd name="connsiteY82" fmla="*/ 1186512 h 1640228"/>
              <a:gd name="connsiteX83" fmla="*/ 1524000 w 1576226"/>
              <a:gd name="connsiteY83" fmla="*/ 1160401 h 1640228"/>
              <a:gd name="connsiteX84" fmla="*/ 1550111 w 1576226"/>
              <a:gd name="connsiteY84" fmla="*/ 1134290 h 1640228"/>
              <a:gd name="connsiteX85" fmla="*/ 1332397 w 1576226"/>
              <a:gd name="connsiteY85" fmla="*/ 1134290 h 1640228"/>
              <a:gd name="connsiteX86" fmla="*/ 1358508 w 1576226"/>
              <a:gd name="connsiteY86" fmla="*/ 1160401 h 1640228"/>
              <a:gd name="connsiteX87" fmla="*/ 1332397 w 1576226"/>
              <a:gd name="connsiteY87" fmla="*/ 1186512 h 1640228"/>
              <a:gd name="connsiteX88" fmla="*/ 1306286 w 1576226"/>
              <a:gd name="connsiteY88" fmla="*/ 1160401 h 1640228"/>
              <a:gd name="connsiteX89" fmla="*/ 1332397 w 1576226"/>
              <a:gd name="connsiteY89" fmla="*/ 1134290 h 1640228"/>
              <a:gd name="connsiteX90" fmla="*/ 1114684 w 1576226"/>
              <a:gd name="connsiteY90" fmla="*/ 1134290 h 1640228"/>
              <a:gd name="connsiteX91" fmla="*/ 1140795 w 1576226"/>
              <a:gd name="connsiteY91" fmla="*/ 1160401 h 1640228"/>
              <a:gd name="connsiteX92" fmla="*/ 1114684 w 1576226"/>
              <a:gd name="connsiteY92" fmla="*/ 1186512 h 1640228"/>
              <a:gd name="connsiteX93" fmla="*/ 1088573 w 1576226"/>
              <a:gd name="connsiteY93" fmla="*/ 1160401 h 1640228"/>
              <a:gd name="connsiteX94" fmla="*/ 1114684 w 1576226"/>
              <a:gd name="connsiteY94" fmla="*/ 1134290 h 1640228"/>
              <a:gd name="connsiteX95" fmla="*/ 896970 w 1576226"/>
              <a:gd name="connsiteY95" fmla="*/ 1134290 h 1640228"/>
              <a:gd name="connsiteX96" fmla="*/ 923081 w 1576226"/>
              <a:gd name="connsiteY96" fmla="*/ 1160401 h 1640228"/>
              <a:gd name="connsiteX97" fmla="*/ 896970 w 1576226"/>
              <a:gd name="connsiteY97" fmla="*/ 1186512 h 1640228"/>
              <a:gd name="connsiteX98" fmla="*/ 870859 w 1576226"/>
              <a:gd name="connsiteY98" fmla="*/ 1160401 h 1640228"/>
              <a:gd name="connsiteX99" fmla="*/ 896970 w 1576226"/>
              <a:gd name="connsiteY99" fmla="*/ 1134290 h 1640228"/>
              <a:gd name="connsiteX100" fmla="*/ 679255 w 1576226"/>
              <a:gd name="connsiteY100" fmla="*/ 1134290 h 1640228"/>
              <a:gd name="connsiteX101" fmla="*/ 705366 w 1576226"/>
              <a:gd name="connsiteY101" fmla="*/ 1160401 h 1640228"/>
              <a:gd name="connsiteX102" fmla="*/ 679255 w 1576226"/>
              <a:gd name="connsiteY102" fmla="*/ 1186512 h 1640228"/>
              <a:gd name="connsiteX103" fmla="*/ 653144 w 1576226"/>
              <a:gd name="connsiteY103" fmla="*/ 1160401 h 1640228"/>
              <a:gd name="connsiteX104" fmla="*/ 679255 w 1576226"/>
              <a:gd name="connsiteY104" fmla="*/ 1134290 h 1640228"/>
              <a:gd name="connsiteX105" fmla="*/ 461541 w 1576226"/>
              <a:gd name="connsiteY105" fmla="*/ 1134290 h 1640228"/>
              <a:gd name="connsiteX106" fmla="*/ 487652 w 1576226"/>
              <a:gd name="connsiteY106" fmla="*/ 1160401 h 1640228"/>
              <a:gd name="connsiteX107" fmla="*/ 461541 w 1576226"/>
              <a:gd name="connsiteY107" fmla="*/ 1186512 h 1640228"/>
              <a:gd name="connsiteX108" fmla="*/ 435430 w 1576226"/>
              <a:gd name="connsiteY108" fmla="*/ 1160401 h 1640228"/>
              <a:gd name="connsiteX109" fmla="*/ 461541 w 1576226"/>
              <a:gd name="connsiteY109" fmla="*/ 1134290 h 1640228"/>
              <a:gd name="connsiteX110" fmla="*/ 243827 w 1576226"/>
              <a:gd name="connsiteY110" fmla="*/ 1134290 h 1640228"/>
              <a:gd name="connsiteX111" fmla="*/ 269938 w 1576226"/>
              <a:gd name="connsiteY111" fmla="*/ 1160401 h 1640228"/>
              <a:gd name="connsiteX112" fmla="*/ 243827 w 1576226"/>
              <a:gd name="connsiteY112" fmla="*/ 1186512 h 1640228"/>
              <a:gd name="connsiteX113" fmla="*/ 217716 w 1576226"/>
              <a:gd name="connsiteY113" fmla="*/ 1160401 h 1640228"/>
              <a:gd name="connsiteX114" fmla="*/ 243827 w 1576226"/>
              <a:gd name="connsiteY114" fmla="*/ 1134290 h 1640228"/>
              <a:gd name="connsiteX115" fmla="*/ 26113 w 1576226"/>
              <a:gd name="connsiteY115" fmla="*/ 1134290 h 1640228"/>
              <a:gd name="connsiteX116" fmla="*/ 52224 w 1576226"/>
              <a:gd name="connsiteY116" fmla="*/ 1160401 h 1640228"/>
              <a:gd name="connsiteX117" fmla="*/ 26113 w 1576226"/>
              <a:gd name="connsiteY117" fmla="*/ 1186512 h 1640228"/>
              <a:gd name="connsiteX118" fmla="*/ 2 w 1576226"/>
              <a:gd name="connsiteY118" fmla="*/ 1160401 h 1640228"/>
              <a:gd name="connsiteX119" fmla="*/ 26113 w 1576226"/>
              <a:gd name="connsiteY119" fmla="*/ 1134290 h 1640228"/>
              <a:gd name="connsiteX120" fmla="*/ 1550112 w 1576226"/>
              <a:gd name="connsiteY120" fmla="*/ 907432 h 1640228"/>
              <a:gd name="connsiteX121" fmla="*/ 1576223 w 1576226"/>
              <a:gd name="connsiteY121" fmla="*/ 933543 h 1640228"/>
              <a:gd name="connsiteX122" fmla="*/ 1550112 w 1576226"/>
              <a:gd name="connsiteY122" fmla="*/ 959654 h 1640228"/>
              <a:gd name="connsiteX123" fmla="*/ 1524001 w 1576226"/>
              <a:gd name="connsiteY123" fmla="*/ 933543 h 1640228"/>
              <a:gd name="connsiteX124" fmla="*/ 1550112 w 1576226"/>
              <a:gd name="connsiteY124" fmla="*/ 907432 h 1640228"/>
              <a:gd name="connsiteX125" fmla="*/ 1332398 w 1576226"/>
              <a:gd name="connsiteY125" fmla="*/ 907432 h 1640228"/>
              <a:gd name="connsiteX126" fmla="*/ 1358509 w 1576226"/>
              <a:gd name="connsiteY126" fmla="*/ 933543 h 1640228"/>
              <a:gd name="connsiteX127" fmla="*/ 1332398 w 1576226"/>
              <a:gd name="connsiteY127" fmla="*/ 959654 h 1640228"/>
              <a:gd name="connsiteX128" fmla="*/ 1306287 w 1576226"/>
              <a:gd name="connsiteY128" fmla="*/ 933543 h 1640228"/>
              <a:gd name="connsiteX129" fmla="*/ 1332398 w 1576226"/>
              <a:gd name="connsiteY129" fmla="*/ 907432 h 1640228"/>
              <a:gd name="connsiteX130" fmla="*/ 1114685 w 1576226"/>
              <a:gd name="connsiteY130" fmla="*/ 907432 h 1640228"/>
              <a:gd name="connsiteX131" fmla="*/ 1140796 w 1576226"/>
              <a:gd name="connsiteY131" fmla="*/ 933543 h 1640228"/>
              <a:gd name="connsiteX132" fmla="*/ 1114685 w 1576226"/>
              <a:gd name="connsiteY132" fmla="*/ 959654 h 1640228"/>
              <a:gd name="connsiteX133" fmla="*/ 1088574 w 1576226"/>
              <a:gd name="connsiteY133" fmla="*/ 933543 h 1640228"/>
              <a:gd name="connsiteX134" fmla="*/ 1114685 w 1576226"/>
              <a:gd name="connsiteY134" fmla="*/ 907432 h 1640228"/>
              <a:gd name="connsiteX135" fmla="*/ 896971 w 1576226"/>
              <a:gd name="connsiteY135" fmla="*/ 907432 h 1640228"/>
              <a:gd name="connsiteX136" fmla="*/ 923082 w 1576226"/>
              <a:gd name="connsiteY136" fmla="*/ 933543 h 1640228"/>
              <a:gd name="connsiteX137" fmla="*/ 896971 w 1576226"/>
              <a:gd name="connsiteY137" fmla="*/ 959654 h 1640228"/>
              <a:gd name="connsiteX138" fmla="*/ 870860 w 1576226"/>
              <a:gd name="connsiteY138" fmla="*/ 933543 h 1640228"/>
              <a:gd name="connsiteX139" fmla="*/ 896971 w 1576226"/>
              <a:gd name="connsiteY139" fmla="*/ 907432 h 1640228"/>
              <a:gd name="connsiteX140" fmla="*/ 679256 w 1576226"/>
              <a:gd name="connsiteY140" fmla="*/ 907432 h 1640228"/>
              <a:gd name="connsiteX141" fmla="*/ 705367 w 1576226"/>
              <a:gd name="connsiteY141" fmla="*/ 933543 h 1640228"/>
              <a:gd name="connsiteX142" fmla="*/ 679256 w 1576226"/>
              <a:gd name="connsiteY142" fmla="*/ 959654 h 1640228"/>
              <a:gd name="connsiteX143" fmla="*/ 653145 w 1576226"/>
              <a:gd name="connsiteY143" fmla="*/ 933543 h 1640228"/>
              <a:gd name="connsiteX144" fmla="*/ 679256 w 1576226"/>
              <a:gd name="connsiteY144" fmla="*/ 907432 h 1640228"/>
              <a:gd name="connsiteX145" fmla="*/ 461542 w 1576226"/>
              <a:gd name="connsiteY145" fmla="*/ 907432 h 1640228"/>
              <a:gd name="connsiteX146" fmla="*/ 487653 w 1576226"/>
              <a:gd name="connsiteY146" fmla="*/ 933543 h 1640228"/>
              <a:gd name="connsiteX147" fmla="*/ 461542 w 1576226"/>
              <a:gd name="connsiteY147" fmla="*/ 959654 h 1640228"/>
              <a:gd name="connsiteX148" fmla="*/ 435431 w 1576226"/>
              <a:gd name="connsiteY148" fmla="*/ 933543 h 1640228"/>
              <a:gd name="connsiteX149" fmla="*/ 461542 w 1576226"/>
              <a:gd name="connsiteY149" fmla="*/ 907432 h 1640228"/>
              <a:gd name="connsiteX150" fmla="*/ 243828 w 1576226"/>
              <a:gd name="connsiteY150" fmla="*/ 907432 h 1640228"/>
              <a:gd name="connsiteX151" fmla="*/ 269939 w 1576226"/>
              <a:gd name="connsiteY151" fmla="*/ 933543 h 1640228"/>
              <a:gd name="connsiteX152" fmla="*/ 243828 w 1576226"/>
              <a:gd name="connsiteY152" fmla="*/ 959654 h 1640228"/>
              <a:gd name="connsiteX153" fmla="*/ 217717 w 1576226"/>
              <a:gd name="connsiteY153" fmla="*/ 933543 h 1640228"/>
              <a:gd name="connsiteX154" fmla="*/ 243828 w 1576226"/>
              <a:gd name="connsiteY154" fmla="*/ 907432 h 1640228"/>
              <a:gd name="connsiteX155" fmla="*/ 26114 w 1576226"/>
              <a:gd name="connsiteY155" fmla="*/ 907432 h 1640228"/>
              <a:gd name="connsiteX156" fmla="*/ 52225 w 1576226"/>
              <a:gd name="connsiteY156" fmla="*/ 933543 h 1640228"/>
              <a:gd name="connsiteX157" fmla="*/ 26114 w 1576226"/>
              <a:gd name="connsiteY157" fmla="*/ 959654 h 1640228"/>
              <a:gd name="connsiteX158" fmla="*/ 3 w 1576226"/>
              <a:gd name="connsiteY158" fmla="*/ 933543 h 1640228"/>
              <a:gd name="connsiteX159" fmla="*/ 26114 w 1576226"/>
              <a:gd name="connsiteY159" fmla="*/ 907432 h 1640228"/>
              <a:gd name="connsiteX160" fmla="*/ 1550113 w 1576226"/>
              <a:gd name="connsiteY160" fmla="*/ 680574 h 1640228"/>
              <a:gd name="connsiteX161" fmla="*/ 1576224 w 1576226"/>
              <a:gd name="connsiteY161" fmla="*/ 706685 h 1640228"/>
              <a:gd name="connsiteX162" fmla="*/ 1550113 w 1576226"/>
              <a:gd name="connsiteY162" fmla="*/ 732796 h 1640228"/>
              <a:gd name="connsiteX163" fmla="*/ 1524002 w 1576226"/>
              <a:gd name="connsiteY163" fmla="*/ 706685 h 1640228"/>
              <a:gd name="connsiteX164" fmla="*/ 1550113 w 1576226"/>
              <a:gd name="connsiteY164" fmla="*/ 680574 h 1640228"/>
              <a:gd name="connsiteX165" fmla="*/ 1332399 w 1576226"/>
              <a:gd name="connsiteY165" fmla="*/ 680574 h 1640228"/>
              <a:gd name="connsiteX166" fmla="*/ 1358510 w 1576226"/>
              <a:gd name="connsiteY166" fmla="*/ 706685 h 1640228"/>
              <a:gd name="connsiteX167" fmla="*/ 1332399 w 1576226"/>
              <a:gd name="connsiteY167" fmla="*/ 732796 h 1640228"/>
              <a:gd name="connsiteX168" fmla="*/ 1306288 w 1576226"/>
              <a:gd name="connsiteY168" fmla="*/ 706685 h 1640228"/>
              <a:gd name="connsiteX169" fmla="*/ 1332399 w 1576226"/>
              <a:gd name="connsiteY169" fmla="*/ 680574 h 1640228"/>
              <a:gd name="connsiteX170" fmla="*/ 1114686 w 1576226"/>
              <a:gd name="connsiteY170" fmla="*/ 680574 h 1640228"/>
              <a:gd name="connsiteX171" fmla="*/ 1140797 w 1576226"/>
              <a:gd name="connsiteY171" fmla="*/ 706685 h 1640228"/>
              <a:gd name="connsiteX172" fmla="*/ 1114686 w 1576226"/>
              <a:gd name="connsiteY172" fmla="*/ 732796 h 1640228"/>
              <a:gd name="connsiteX173" fmla="*/ 1088575 w 1576226"/>
              <a:gd name="connsiteY173" fmla="*/ 706685 h 1640228"/>
              <a:gd name="connsiteX174" fmla="*/ 1114686 w 1576226"/>
              <a:gd name="connsiteY174" fmla="*/ 680574 h 1640228"/>
              <a:gd name="connsiteX175" fmla="*/ 896972 w 1576226"/>
              <a:gd name="connsiteY175" fmla="*/ 680574 h 1640228"/>
              <a:gd name="connsiteX176" fmla="*/ 923083 w 1576226"/>
              <a:gd name="connsiteY176" fmla="*/ 706685 h 1640228"/>
              <a:gd name="connsiteX177" fmla="*/ 896972 w 1576226"/>
              <a:gd name="connsiteY177" fmla="*/ 732796 h 1640228"/>
              <a:gd name="connsiteX178" fmla="*/ 870861 w 1576226"/>
              <a:gd name="connsiteY178" fmla="*/ 706685 h 1640228"/>
              <a:gd name="connsiteX179" fmla="*/ 896972 w 1576226"/>
              <a:gd name="connsiteY179" fmla="*/ 680574 h 1640228"/>
              <a:gd name="connsiteX180" fmla="*/ 679257 w 1576226"/>
              <a:gd name="connsiteY180" fmla="*/ 680574 h 1640228"/>
              <a:gd name="connsiteX181" fmla="*/ 705368 w 1576226"/>
              <a:gd name="connsiteY181" fmla="*/ 706685 h 1640228"/>
              <a:gd name="connsiteX182" fmla="*/ 679257 w 1576226"/>
              <a:gd name="connsiteY182" fmla="*/ 732796 h 1640228"/>
              <a:gd name="connsiteX183" fmla="*/ 653146 w 1576226"/>
              <a:gd name="connsiteY183" fmla="*/ 706685 h 1640228"/>
              <a:gd name="connsiteX184" fmla="*/ 679257 w 1576226"/>
              <a:gd name="connsiteY184" fmla="*/ 680574 h 1640228"/>
              <a:gd name="connsiteX185" fmla="*/ 461543 w 1576226"/>
              <a:gd name="connsiteY185" fmla="*/ 680574 h 1640228"/>
              <a:gd name="connsiteX186" fmla="*/ 487654 w 1576226"/>
              <a:gd name="connsiteY186" fmla="*/ 706685 h 1640228"/>
              <a:gd name="connsiteX187" fmla="*/ 461543 w 1576226"/>
              <a:gd name="connsiteY187" fmla="*/ 732796 h 1640228"/>
              <a:gd name="connsiteX188" fmla="*/ 435432 w 1576226"/>
              <a:gd name="connsiteY188" fmla="*/ 706685 h 1640228"/>
              <a:gd name="connsiteX189" fmla="*/ 461543 w 1576226"/>
              <a:gd name="connsiteY189" fmla="*/ 680574 h 1640228"/>
              <a:gd name="connsiteX190" fmla="*/ 243829 w 1576226"/>
              <a:gd name="connsiteY190" fmla="*/ 680574 h 1640228"/>
              <a:gd name="connsiteX191" fmla="*/ 269940 w 1576226"/>
              <a:gd name="connsiteY191" fmla="*/ 706685 h 1640228"/>
              <a:gd name="connsiteX192" fmla="*/ 243829 w 1576226"/>
              <a:gd name="connsiteY192" fmla="*/ 732796 h 1640228"/>
              <a:gd name="connsiteX193" fmla="*/ 217718 w 1576226"/>
              <a:gd name="connsiteY193" fmla="*/ 706685 h 1640228"/>
              <a:gd name="connsiteX194" fmla="*/ 243829 w 1576226"/>
              <a:gd name="connsiteY194" fmla="*/ 680574 h 1640228"/>
              <a:gd name="connsiteX195" fmla="*/ 26115 w 1576226"/>
              <a:gd name="connsiteY195" fmla="*/ 680574 h 1640228"/>
              <a:gd name="connsiteX196" fmla="*/ 52226 w 1576226"/>
              <a:gd name="connsiteY196" fmla="*/ 706685 h 1640228"/>
              <a:gd name="connsiteX197" fmla="*/ 26115 w 1576226"/>
              <a:gd name="connsiteY197" fmla="*/ 732796 h 1640228"/>
              <a:gd name="connsiteX198" fmla="*/ 4 w 1576226"/>
              <a:gd name="connsiteY198" fmla="*/ 706685 h 1640228"/>
              <a:gd name="connsiteX199" fmla="*/ 26115 w 1576226"/>
              <a:gd name="connsiteY199" fmla="*/ 680574 h 1640228"/>
              <a:gd name="connsiteX200" fmla="*/ 26116 w 1576226"/>
              <a:gd name="connsiteY200" fmla="*/ 453717 h 1640228"/>
              <a:gd name="connsiteX201" fmla="*/ 52227 w 1576226"/>
              <a:gd name="connsiteY201" fmla="*/ 479827 h 1640228"/>
              <a:gd name="connsiteX202" fmla="*/ 26116 w 1576226"/>
              <a:gd name="connsiteY202" fmla="*/ 505939 h 1640228"/>
              <a:gd name="connsiteX203" fmla="*/ 5 w 1576226"/>
              <a:gd name="connsiteY203" fmla="*/ 479827 h 1640228"/>
              <a:gd name="connsiteX204" fmla="*/ 26116 w 1576226"/>
              <a:gd name="connsiteY204" fmla="*/ 453717 h 1640228"/>
              <a:gd name="connsiteX205" fmla="*/ 243830 w 1576226"/>
              <a:gd name="connsiteY205" fmla="*/ 453717 h 1640228"/>
              <a:gd name="connsiteX206" fmla="*/ 269941 w 1576226"/>
              <a:gd name="connsiteY206" fmla="*/ 479827 h 1640228"/>
              <a:gd name="connsiteX207" fmla="*/ 243830 w 1576226"/>
              <a:gd name="connsiteY207" fmla="*/ 505939 h 1640228"/>
              <a:gd name="connsiteX208" fmla="*/ 217719 w 1576226"/>
              <a:gd name="connsiteY208" fmla="*/ 479827 h 1640228"/>
              <a:gd name="connsiteX209" fmla="*/ 243830 w 1576226"/>
              <a:gd name="connsiteY209" fmla="*/ 453717 h 1640228"/>
              <a:gd name="connsiteX210" fmla="*/ 461544 w 1576226"/>
              <a:gd name="connsiteY210" fmla="*/ 453717 h 1640228"/>
              <a:gd name="connsiteX211" fmla="*/ 487655 w 1576226"/>
              <a:gd name="connsiteY211" fmla="*/ 479827 h 1640228"/>
              <a:gd name="connsiteX212" fmla="*/ 461544 w 1576226"/>
              <a:gd name="connsiteY212" fmla="*/ 505939 h 1640228"/>
              <a:gd name="connsiteX213" fmla="*/ 435433 w 1576226"/>
              <a:gd name="connsiteY213" fmla="*/ 479827 h 1640228"/>
              <a:gd name="connsiteX214" fmla="*/ 461544 w 1576226"/>
              <a:gd name="connsiteY214" fmla="*/ 453717 h 1640228"/>
              <a:gd name="connsiteX215" fmla="*/ 679258 w 1576226"/>
              <a:gd name="connsiteY215" fmla="*/ 453717 h 1640228"/>
              <a:gd name="connsiteX216" fmla="*/ 705369 w 1576226"/>
              <a:gd name="connsiteY216" fmla="*/ 479827 h 1640228"/>
              <a:gd name="connsiteX217" fmla="*/ 679258 w 1576226"/>
              <a:gd name="connsiteY217" fmla="*/ 505939 h 1640228"/>
              <a:gd name="connsiteX218" fmla="*/ 653147 w 1576226"/>
              <a:gd name="connsiteY218" fmla="*/ 479827 h 1640228"/>
              <a:gd name="connsiteX219" fmla="*/ 679258 w 1576226"/>
              <a:gd name="connsiteY219" fmla="*/ 453717 h 1640228"/>
              <a:gd name="connsiteX220" fmla="*/ 896973 w 1576226"/>
              <a:gd name="connsiteY220" fmla="*/ 453717 h 1640228"/>
              <a:gd name="connsiteX221" fmla="*/ 923084 w 1576226"/>
              <a:gd name="connsiteY221" fmla="*/ 479827 h 1640228"/>
              <a:gd name="connsiteX222" fmla="*/ 896973 w 1576226"/>
              <a:gd name="connsiteY222" fmla="*/ 505939 h 1640228"/>
              <a:gd name="connsiteX223" fmla="*/ 870862 w 1576226"/>
              <a:gd name="connsiteY223" fmla="*/ 479827 h 1640228"/>
              <a:gd name="connsiteX224" fmla="*/ 896973 w 1576226"/>
              <a:gd name="connsiteY224" fmla="*/ 453717 h 1640228"/>
              <a:gd name="connsiteX225" fmla="*/ 1114687 w 1576226"/>
              <a:gd name="connsiteY225" fmla="*/ 453717 h 1640228"/>
              <a:gd name="connsiteX226" fmla="*/ 1140798 w 1576226"/>
              <a:gd name="connsiteY226" fmla="*/ 479827 h 1640228"/>
              <a:gd name="connsiteX227" fmla="*/ 1114687 w 1576226"/>
              <a:gd name="connsiteY227" fmla="*/ 505938 h 1640228"/>
              <a:gd name="connsiteX228" fmla="*/ 1088576 w 1576226"/>
              <a:gd name="connsiteY228" fmla="*/ 479827 h 1640228"/>
              <a:gd name="connsiteX229" fmla="*/ 1114687 w 1576226"/>
              <a:gd name="connsiteY229" fmla="*/ 453717 h 1640228"/>
              <a:gd name="connsiteX230" fmla="*/ 1332400 w 1576226"/>
              <a:gd name="connsiteY230" fmla="*/ 453716 h 1640228"/>
              <a:gd name="connsiteX231" fmla="*/ 1358511 w 1576226"/>
              <a:gd name="connsiteY231" fmla="*/ 479827 h 1640228"/>
              <a:gd name="connsiteX232" fmla="*/ 1332400 w 1576226"/>
              <a:gd name="connsiteY232" fmla="*/ 505938 h 1640228"/>
              <a:gd name="connsiteX233" fmla="*/ 1306289 w 1576226"/>
              <a:gd name="connsiteY233" fmla="*/ 479827 h 1640228"/>
              <a:gd name="connsiteX234" fmla="*/ 1332400 w 1576226"/>
              <a:gd name="connsiteY234" fmla="*/ 453716 h 1640228"/>
              <a:gd name="connsiteX235" fmla="*/ 1550114 w 1576226"/>
              <a:gd name="connsiteY235" fmla="*/ 453716 h 1640228"/>
              <a:gd name="connsiteX236" fmla="*/ 1576225 w 1576226"/>
              <a:gd name="connsiteY236" fmla="*/ 479827 h 1640228"/>
              <a:gd name="connsiteX237" fmla="*/ 1550114 w 1576226"/>
              <a:gd name="connsiteY237" fmla="*/ 505938 h 1640228"/>
              <a:gd name="connsiteX238" fmla="*/ 1524003 w 1576226"/>
              <a:gd name="connsiteY238" fmla="*/ 479827 h 1640228"/>
              <a:gd name="connsiteX239" fmla="*/ 1550114 w 1576226"/>
              <a:gd name="connsiteY239" fmla="*/ 453716 h 1640228"/>
              <a:gd name="connsiteX240" fmla="*/ 1114688 w 1576226"/>
              <a:gd name="connsiteY240" fmla="*/ 226858 h 1640228"/>
              <a:gd name="connsiteX241" fmla="*/ 1140799 w 1576226"/>
              <a:gd name="connsiteY241" fmla="*/ 252969 h 1640228"/>
              <a:gd name="connsiteX242" fmla="*/ 1114688 w 1576226"/>
              <a:gd name="connsiteY242" fmla="*/ 279080 h 1640228"/>
              <a:gd name="connsiteX243" fmla="*/ 1088577 w 1576226"/>
              <a:gd name="connsiteY243" fmla="*/ 252969 h 1640228"/>
              <a:gd name="connsiteX244" fmla="*/ 1114688 w 1576226"/>
              <a:gd name="connsiteY244" fmla="*/ 226858 h 1640228"/>
              <a:gd name="connsiteX245" fmla="*/ 896974 w 1576226"/>
              <a:gd name="connsiteY245" fmla="*/ 226858 h 1640228"/>
              <a:gd name="connsiteX246" fmla="*/ 923085 w 1576226"/>
              <a:gd name="connsiteY246" fmla="*/ 252969 h 1640228"/>
              <a:gd name="connsiteX247" fmla="*/ 896974 w 1576226"/>
              <a:gd name="connsiteY247" fmla="*/ 279080 h 1640228"/>
              <a:gd name="connsiteX248" fmla="*/ 870863 w 1576226"/>
              <a:gd name="connsiteY248" fmla="*/ 252969 h 1640228"/>
              <a:gd name="connsiteX249" fmla="*/ 896974 w 1576226"/>
              <a:gd name="connsiteY249" fmla="*/ 226858 h 1640228"/>
              <a:gd name="connsiteX250" fmla="*/ 679259 w 1576226"/>
              <a:gd name="connsiteY250" fmla="*/ 226858 h 1640228"/>
              <a:gd name="connsiteX251" fmla="*/ 705370 w 1576226"/>
              <a:gd name="connsiteY251" fmla="*/ 252970 h 1640228"/>
              <a:gd name="connsiteX252" fmla="*/ 679259 w 1576226"/>
              <a:gd name="connsiteY252" fmla="*/ 279080 h 1640228"/>
              <a:gd name="connsiteX253" fmla="*/ 653148 w 1576226"/>
              <a:gd name="connsiteY253" fmla="*/ 252970 h 1640228"/>
              <a:gd name="connsiteX254" fmla="*/ 679259 w 1576226"/>
              <a:gd name="connsiteY254" fmla="*/ 226858 h 1640228"/>
              <a:gd name="connsiteX255" fmla="*/ 461545 w 1576226"/>
              <a:gd name="connsiteY255" fmla="*/ 226858 h 1640228"/>
              <a:gd name="connsiteX256" fmla="*/ 487656 w 1576226"/>
              <a:gd name="connsiteY256" fmla="*/ 252970 h 1640228"/>
              <a:gd name="connsiteX257" fmla="*/ 461545 w 1576226"/>
              <a:gd name="connsiteY257" fmla="*/ 279081 h 1640228"/>
              <a:gd name="connsiteX258" fmla="*/ 435434 w 1576226"/>
              <a:gd name="connsiteY258" fmla="*/ 252970 h 1640228"/>
              <a:gd name="connsiteX259" fmla="*/ 461545 w 1576226"/>
              <a:gd name="connsiteY259" fmla="*/ 226858 h 1640228"/>
              <a:gd name="connsiteX260" fmla="*/ 243831 w 1576226"/>
              <a:gd name="connsiteY260" fmla="*/ 226858 h 1640228"/>
              <a:gd name="connsiteX261" fmla="*/ 269942 w 1576226"/>
              <a:gd name="connsiteY261" fmla="*/ 252970 h 1640228"/>
              <a:gd name="connsiteX262" fmla="*/ 243831 w 1576226"/>
              <a:gd name="connsiteY262" fmla="*/ 279081 h 1640228"/>
              <a:gd name="connsiteX263" fmla="*/ 217720 w 1576226"/>
              <a:gd name="connsiteY263" fmla="*/ 252970 h 1640228"/>
              <a:gd name="connsiteX264" fmla="*/ 243831 w 1576226"/>
              <a:gd name="connsiteY264" fmla="*/ 226858 h 1640228"/>
              <a:gd name="connsiteX265" fmla="*/ 26117 w 1576226"/>
              <a:gd name="connsiteY265" fmla="*/ 226858 h 1640228"/>
              <a:gd name="connsiteX266" fmla="*/ 52228 w 1576226"/>
              <a:gd name="connsiteY266" fmla="*/ 252970 h 1640228"/>
              <a:gd name="connsiteX267" fmla="*/ 26117 w 1576226"/>
              <a:gd name="connsiteY267" fmla="*/ 279081 h 1640228"/>
              <a:gd name="connsiteX268" fmla="*/ 6 w 1576226"/>
              <a:gd name="connsiteY268" fmla="*/ 252970 h 1640228"/>
              <a:gd name="connsiteX269" fmla="*/ 26117 w 1576226"/>
              <a:gd name="connsiteY269" fmla="*/ 226858 h 1640228"/>
              <a:gd name="connsiteX270" fmla="*/ 1332401 w 1576226"/>
              <a:gd name="connsiteY270" fmla="*/ 226858 h 1640228"/>
              <a:gd name="connsiteX271" fmla="*/ 1358512 w 1576226"/>
              <a:gd name="connsiteY271" fmla="*/ 252969 h 1640228"/>
              <a:gd name="connsiteX272" fmla="*/ 1332401 w 1576226"/>
              <a:gd name="connsiteY272" fmla="*/ 279080 h 1640228"/>
              <a:gd name="connsiteX273" fmla="*/ 1306290 w 1576226"/>
              <a:gd name="connsiteY273" fmla="*/ 252969 h 1640228"/>
              <a:gd name="connsiteX274" fmla="*/ 1332401 w 1576226"/>
              <a:gd name="connsiteY274" fmla="*/ 226858 h 1640228"/>
              <a:gd name="connsiteX275" fmla="*/ 1550115 w 1576226"/>
              <a:gd name="connsiteY275" fmla="*/ 226858 h 1640228"/>
              <a:gd name="connsiteX276" fmla="*/ 1576226 w 1576226"/>
              <a:gd name="connsiteY276" fmla="*/ 252969 h 1640228"/>
              <a:gd name="connsiteX277" fmla="*/ 1550115 w 1576226"/>
              <a:gd name="connsiteY277" fmla="*/ 279080 h 1640228"/>
              <a:gd name="connsiteX278" fmla="*/ 1524004 w 1576226"/>
              <a:gd name="connsiteY278" fmla="*/ 252969 h 1640228"/>
              <a:gd name="connsiteX279" fmla="*/ 1550115 w 1576226"/>
              <a:gd name="connsiteY279" fmla="*/ 226858 h 1640228"/>
              <a:gd name="connsiteX280" fmla="*/ 26117 w 1576226"/>
              <a:gd name="connsiteY280" fmla="*/ 2 h 1640228"/>
              <a:gd name="connsiteX281" fmla="*/ 52228 w 1576226"/>
              <a:gd name="connsiteY281" fmla="*/ 26113 h 1640228"/>
              <a:gd name="connsiteX282" fmla="*/ 26117 w 1576226"/>
              <a:gd name="connsiteY282" fmla="*/ 52224 h 1640228"/>
              <a:gd name="connsiteX283" fmla="*/ 6 w 1576226"/>
              <a:gd name="connsiteY283" fmla="*/ 26113 h 1640228"/>
              <a:gd name="connsiteX284" fmla="*/ 26117 w 1576226"/>
              <a:gd name="connsiteY284" fmla="*/ 2 h 1640228"/>
              <a:gd name="connsiteX285" fmla="*/ 243831 w 1576226"/>
              <a:gd name="connsiteY285" fmla="*/ 1 h 1640228"/>
              <a:gd name="connsiteX286" fmla="*/ 269942 w 1576226"/>
              <a:gd name="connsiteY286" fmla="*/ 26112 h 1640228"/>
              <a:gd name="connsiteX287" fmla="*/ 243831 w 1576226"/>
              <a:gd name="connsiteY287" fmla="*/ 52224 h 1640228"/>
              <a:gd name="connsiteX288" fmla="*/ 217720 w 1576226"/>
              <a:gd name="connsiteY288" fmla="*/ 26112 h 1640228"/>
              <a:gd name="connsiteX289" fmla="*/ 243831 w 1576226"/>
              <a:gd name="connsiteY289" fmla="*/ 1 h 1640228"/>
              <a:gd name="connsiteX290" fmla="*/ 461545 w 1576226"/>
              <a:gd name="connsiteY290" fmla="*/ 1 h 1640228"/>
              <a:gd name="connsiteX291" fmla="*/ 487656 w 1576226"/>
              <a:gd name="connsiteY291" fmla="*/ 26112 h 1640228"/>
              <a:gd name="connsiteX292" fmla="*/ 461545 w 1576226"/>
              <a:gd name="connsiteY292" fmla="*/ 52224 h 1640228"/>
              <a:gd name="connsiteX293" fmla="*/ 435434 w 1576226"/>
              <a:gd name="connsiteY293" fmla="*/ 26112 h 1640228"/>
              <a:gd name="connsiteX294" fmla="*/ 461545 w 1576226"/>
              <a:gd name="connsiteY294" fmla="*/ 1 h 1640228"/>
              <a:gd name="connsiteX295" fmla="*/ 679259 w 1576226"/>
              <a:gd name="connsiteY295" fmla="*/ 1 h 1640228"/>
              <a:gd name="connsiteX296" fmla="*/ 705370 w 1576226"/>
              <a:gd name="connsiteY296" fmla="*/ 26112 h 1640228"/>
              <a:gd name="connsiteX297" fmla="*/ 679259 w 1576226"/>
              <a:gd name="connsiteY297" fmla="*/ 52223 h 1640228"/>
              <a:gd name="connsiteX298" fmla="*/ 653148 w 1576226"/>
              <a:gd name="connsiteY298" fmla="*/ 26112 h 1640228"/>
              <a:gd name="connsiteX299" fmla="*/ 679259 w 1576226"/>
              <a:gd name="connsiteY299" fmla="*/ 1 h 1640228"/>
              <a:gd name="connsiteX300" fmla="*/ 896974 w 1576226"/>
              <a:gd name="connsiteY300" fmla="*/ 1 h 1640228"/>
              <a:gd name="connsiteX301" fmla="*/ 923085 w 1576226"/>
              <a:gd name="connsiteY301" fmla="*/ 26112 h 1640228"/>
              <a:gd name="connsiteX302" fmla="*/ 896974 w 1576226"/>
              <a:gd name="connsiteY302" fmla="*/ 52223 h 1640228"/>
              <a:gd name="connsiteX303" fmla="*/ 870863 w 1576226"/>
              <a:gd name="connsiteY303" fmla="*/ 26112 h 1640228"/>
              <a:gd name="connsiteX304" fmla="*/ 896974 w 1576226"/>
              <a:gd name="connsiteY304" fmla="*/ 1 h 1640228"/>
              <a:gd name="connsiteX305" fmla="*/ 1114688 w 1576226"/>
              <a:gd name="connsiteY305" fmla="*/ 1 h 1640228"/>
              <a:gd name="connsiteX306" fmla="*/ 1140799 w 1576226"/>
              <a:gd name="connsiteY306" fmla="*/ 26112 h 1640228"/>
              <a:gd name="connsiteX307" fmla="*/ 1114688 w 1576226"/>
              <a:gd name="connsiteY307" fmla="*/ 52223 h 1640228"/>
              <a:gd name="connsiteX308" fmla="*/ 1088577 w 1576226"/>
              <a:gd name="connsiteY308" fmla="*/ 26112 h 1640228"/>
              <a:gd name="connsiteX309" fmla="*/ 1114688 w 1576226"/>
              <a:gd name="connsiteY309" fmla="*/ 1 h 1640228"/>
              <a:gd name="connsiteX310" fmla="*/ 1332401 w 1576226"/>
              <a:gd name="connsiteY310" fmla="*/ 0 h 1640228"/>
              <a:gd name="connsiteX311" fmla="*/ 1358512 w 1576226"/>
              <a:gd name="connsiteY311" fmla="*/ 26111 h 1640228"/>
              <a:gd name="connsiteX312" fmla="*/ 1332401 w 1576226"/>
              <a:gd name="connsiteY312" fmla="*/ 52223 h 1640228"/>
              <a:gd name="connsiteX313" fmla="*/ 1306290 w 1576226"/>
              <a:gd name="connsiteY313" fmla="*/ 26111 h 1640228"/>
              <a:gd name="connsiteX314" fmla="*/ 1332401 w 1576226"/>
              <a:gd name="connsiteY314" fmla="*/ 0 h 1640228"/>
              <a:gd name="connsiteX315" fmla="*/ 1550115 w 1576226"/>
              <a:gd name="connsiteY315" fmla="*/ 0 h 1640228"/>
              <a:gd name="connsiteX316" fmla="*/ 1576226 w 1576226"/>
              <a:gd name="connsiteY316" fmla="*/ 26111 h 1640228"/>
              <a:gd name="connsiteX317" fmla="*/ 1550115 w 1576226"/>
              <a:gd name="connsiteY317" fmla="*/ 52222 h 1640228"/>
              <a:gd name="connsiteX318" fmla="*/ 1524004 w 1576226"/>
              <a:gd name="connsiteY318" fmla="*/ 26111 h 1640228"/>
              <a:gd name="connsiteX319" fmla="*/ 1550115 w 1576226"/>
              <a:gd name="connsiteY319" fmla="*/ 0 h 16402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Lst>
            <a:rect l="l" t="t" r="r" b="b"/>
            <a:pathLst>
              <a:path w="1576226" h="1640228">
                <a:moveTo>
                  <a:pt x="1550109" y="1588006"/>
                </a:moveTo>
                <a:cubicBezTo>
                  <a:pt x="1564530" y="1588006"/>
                  <a:pt x="1576220" y="1599696"/>
                  <a:pt x="1576220" y="1614117"/>
                </a:cubicBezTo>
                <a:cubicBezTo>
                  <a:pt x="1576220" y="1628538"/>
                  <a:pt x="1564530" y="1640228"/>
                  <a:pt x="1550109" y="1640228"/>
                </a:cubicBezTo>
                <a:cubicBezTo>
                  <a:pt x="1535688" y="1640228"/>
                  <a:pt x="1523998" y="1628538"/>
                  <a:pt x="1523998" y="1614117"/>
                </a:cubicBezTo>
                <a:cubicBezTo>
                  <a:pt x="1523998" y="1599696"/>
                  <a:pt x="1535688" y="1588006"/>
                  <a:pt x="1550109" y="1588006"/>
                </a:cubicBezTo>
                <a:close/>
                <a:moveTo>
                  <a:pt x="1332395" y="1588006"/>
                </a:moveTo>
                <a:cubicBezTo>
                  <a:pt x="1346816" y="1588006"/>
                  <a:pt x="1358506" y="1599696"/>
                  <a:pt x="1358506" y="1614117"/>
                </a:cubicBezTo>
                <a:cubicBezTo>
                  <a:pt x="1358506" y="1628538"/>
                  <a:pt x="1346816" y="1640228"/>
                  <a:pt x="1332395" y="1640228"/>
                </a:cubicBezTo>
                <a:cubicBezTo>
                  <a:pt x="1317974" y="1640228"/>
                  <a:pt x="1306284" y="1628538"/>
                  <a:pt x="1306284" y="1614117"/>
                </a:cubicBezTo>
                <a:cubicBezTo>
                  <a:pt x="1306284" y="1599696"/>
                  <a:pt x="1317974" y="1588006"/>
                  <a:pt x="1332395" y="1588006"/>
                </a:cubicBezTo>
                <a:close/>
                <a:moveTo>
                  <a:pt x="1114682" y="1588006"/>
                </a:moveTo>
                <a:cubicBezTo>
                  <a:pt x="1129103" y="1588006"/>
                  <a:pt x="1140793" y="1599696"/>
                  <a:pt x="1140793" y="1614117"/>
                </a:cubicBezTo>
                <a:cubicBezTo>
                  <a:pt x="1140793" y="1628538"/>
                  <a:pt x="1129103" y="1640228"/>
                  <a:pt x="1114682" y="1640228"/>
                </a:cubicBezTo>
                <a:cubicBezTo>
                  <a:pt x="1100261" y="1640228"/>
                  <a:pt x="1088571" y="1628538"/>
                  <a:pt x="1088571" y="1614117"/>
                </a:cubicBezTo>
                <a:cubicBezTo>
                  <a:pt x="1088571" y="1599696"/>
                  <a:pt x="1100261" y="1588006"/>
                  <a:pt x="1114682" y="1588006"/>
                </a:cubicBezTo>
                <a:close/>
                <a:moveTo>
                  <a:pt x="896968" y="1588006"/>
                </a:moveTo>
                <a:cubicBezTo>
                  <a:pt x="911389" y="1588006"/>
                  <a:pt x="923079" y="1599696"/>
                  <a:pt x="923079" y="1614117"/>
                </a:cubicBezTo>
                <a:cubicBezTo>
                  <a:pt x="923079" y="1628538"/>
                  <a:pt x="911389" y="1640228"/>
                  <a:pt x="896968" y="1640228"/>
                </a:cubicBezTo>
                <a:cubicBezTo>
                  <a:pt x="882547" y="1640228"/>
                  <a:pt x="870857" y="1628538"/>
                  <a:pt x="870857" y="1614117"/>
                </a:cubicBezTo>
                <a:cubicBezTo>
                  <a:pt x="870857" y="1599696"/>
                  <a:pt x="882547" y="1588006"/>
                  <a:pt x="896968" y="1588006"/>
                </a:cubicBezTo>
                <a:close/>
                <a:moveTo>
                  <a:pt x="679253" y="1588006"/>
                </a:moveTo>
                <a:cubicBezTo>
                  <a:pt x="693674" y="1588006"/>
                  <a:pt x="705364" y="1599696"/>
                  <a:pt x="705364" y="1614117"/>
                </a:cubicBezTo>
                <a:cubicBezTo>
                  <a:pt x="705364" y="1628538"/>
                  <a:pt x="693674" y="1640228"/>
                  <a:pt x="679253" y="1640228"/>
                </a:cubicBezTo>
                <a:cubicBezTo>
                  <a:pt x="664832" y="1640228"/>
                  <a:pt x="653142" y="1628538"/>
                  <a:pt x="653142" y="1614117"/>
                </a:cubicBezTo>
                <a:cubicBezTo>
                  <a:pt x="653142" y="1599696"/>
                  <a:pt x="664832" y="1588006"/>
                  <a:pt x="679253" y="1588006"/>
                </a:cubicBezTo>
                <a:close/>
                <a:moveTo>
                  <a:pt x="461539" y="1588006"/>
                </a:moveTo>
                <a:cubicBezTo>
                  <a:pt x="475960" y="1588006"/>
                  <a:pt x="487650" y="1599696"/>
                  <a:pt x="487650" y="1614117"/>
                </a:cubicBezTo>
                <a:cubicBezTo>
                  <a:pt x="487650" y="1628538"/>
                  <a:pt x="475960" y="1640228"/>
                  <a:pt x="461539" y="1640228"/>
                </a:cubicBezTo>
                <a:cubicBezTo>
                  <a:pt x="447118" y="1640228"/>
                  <a:pt x="435428" y="1628538"/>
                  <a:pt x="435428" y="1614117"/>
                </a:cubicBezTo>
                <a:cubicBezTo>
                  <a:pt x="435428" y="1599696"/>
                  <a:pt x="447118" y="1588006"/>
                  <a:pt x="461539" y="1588006"/>
                </a:cubicBezTo>
                <a:close/>
                <a:moveTo>
                  <a:pt x="243825" y="1588006"/>
                </a:moveTo>
                <a:cubicBezTo>
                  <a:pt x="258246" y="1588006"/>
                  <a:pt x="269936" y="1599696"/>
                  <a:pt x="269936" y="1614117"/>
                </a:cubicBezTo>
                <a:cubicBezTo>
                  <a:pt x="269936" y="1628538"/>
                  <a:pt x="258246" y="1640228"/>
                  <a:pt x="243825" y="1640228"/>
                </a:cubicBezTo>
                <a:cubicBezTo>
                  <a:pt x="229404" y="1640228"/>
                  <a:pt x="217714" y="1628538"/>
                  <a:pt x="217714" y="1614117"/>
                </a:cubicBezTo>
                <a:cubicBezTo>
                  <a:pt x="217714" y="1599696"/>
                  <a:pt x="229404" y="1588006"/>
                  <a:pt x="243825" y="1588006"/>
                </a:cubicBezTo>
                <a:close/>
                <a:moveTo>
                  <a:pt x="26111" y="1588006"/>
                </a:moveTo>
                <a:cubicBezTo>
                  <a:pt x="40532" y="1588006"/>
                  <a:pt x="52222" y="1599696"/>
                  <a:pt x="52222" y="1614117"/>
                </a:cubicBezTo>
                <a:cubicBezTo>
                  <a:pt x="52222" y="1628538"/>
                  <a:pt x="40532" y="1640228"/>
                  <a:pt x="26111" y="1640228"/>
                </a:cubicBezTo>
                <a:cubicBezTo>
                  <a:pt x="11690" y="1640228"/>
                  <a:pt x="0" y="1628538"/>
                  <a:pt x="0" y="1614117"/>
                </a:cubicBezTo>
                <a:cubicBezTo>
                  <a:pt x="0" y="1599696"/>
                  <a:pt x="11690" y="1588006"/>
                  <a:pt x="26111" y="1588006"/>
                </a:cubicBezTo>
                <a:close/>
                <a:moveTo>
                  <a:pt x="1550110" y="1361148"/>
                </a:moveTo>
                <a:cubicBezTo>
                  <a:pt x="1564531" y="1361148"/>
                  <a:pt x="1576221" y="1372838"/>
                  <a:pt x="1576221" y="1387259"/>
                </a:cubicBezTo>
                <a:cubicBezTo>
                  <a:pt x="1576221" y="1401680"/>
                  <a:pt x="1564531" y="1413370"/>
                  <a:pt x="1550110" y="1413370"/>
                </a:cubicBezTo>
                <a:cubicBezTo>
                  <a:pt x="1535689" y="1413370"/>
                  <a:pt x="1523999" y="1401680"/>
                  <a:pt x="1523999" y="1387259"/>
                </a:cubicBezTo>
                <a:cubicBezTo>
                  <a:pt x="1523999" y="1372838"/>
                  <a:pt x="1535689" y="1361148"/>
                  <a:pt x="1550110" y="1361148"/>
                </a:cubicBezTo>
                <a:close/>
                <a:moveTo>
                  <a:pt x="1332396" y="1361148"/>
                </a:moveTo>
                <a:cubicBezTo>
                  <a:pt x="1346817" y="1361148"/>
                  <a:pt x="1358507" y="1372838"/>
                  <a:pt x="1358507" y="1387259"/>
                </a:cubicBezTo>
                <a:cubicBezTo>
                  <a:pt x="1358507" y="1401680"/>
                  <a:pt x="1346817" y="1413370"/>
                  <a:pt x="1332396" y="1413370"/>
                </a:cubicBezTo>
                <a:cubicBezTo>
                  <a:pt x="1317975" y="1413370"/>
                  <a:pt x="1306285" y="1401680"/>
                  <a:pt x="1306285" y="1387259"/>
                </a:cubicBezTo>
                <a:cubicBezTo>
                  <a:pt x="1306285" y="1372838"/>
                  <a:pt x="1317975" y="1361148"/>
                  <a:pt x="1332396" y="1361148"/>
                </a:cubicBezTo>
                <a:close/>
                <a:moveTo>
                  <a:pt x="1114683" y="1361148"/>
                </a:moveTo>
                <a:cubicBezTo>
                  <a:pt x="1129104" y="1361148"/>
                  <a:pt x="1140794" y="1372838"/>
                  <a:pt x="1140794" y="1387259"/>
                </a:cubicBezTo>
                <a:cubicBezTo>
                  <a:pt x="1140794" y="1401680"/>
                  <a:pt x="1129104" y="1413370"/>
                  <a:pt x="1114683" y="1413370"/>
                </a:cubicBezTo>
                <a:cubicBezTo>
                  <a:pt x="1100262" y="1413370"/>
                  <a:pt x="1088572" y="1401680"/>
                  <a:pt x="1088572" y="1387259"/>
                </a:cubicBezTo>
                <a:cubicBezTo>
                  <a:pt x="1088572" y="1372838"/>
                  <a:pt x="1100262" y="1361148"/>
                  <a:pt x="1114683" y="1361148"/>
                </a:cubicBezTo>
                <a:close/>
                <a:moveTo>
                  <a:pt x="896969" y="1361148"/>
                </a:moveTo>
                <a:cubicBezTo>
                  <a:pt x="911390" y="1361148"/>
                  <a:pt x="923080" y="1372838"/>
                  <a:pt x="923080" y="1387259"/>
                </a:cubicBezTo>
                <a:cubicBezTo>
                  <a:pt x="923080" y="1401680"/>
                  <a:pt x="911390" y="1413370"/>
                  <a:pt x="896969" y="1413370"/>
                </a:cubicBezTo>
                <a:cubicBezTo>
                  <a:pt x="882548" y="1413370"/>
                  <a:pt x="870858" y="1401680"/>
                  <a:pt x="870858" y="1387259"/>
                </a:cubicBezTo>
                <a:cubicBezTo>
                  <a:pt x="870858" y="1372838"/>
                  <a:pt x="882548" y="1361148"/>
                  <a:pt x="896969" y="1361148"/>
                </a:cubicBezTo>
                <a:close/>
                <a:moveTo>
                  <a:pt x="679254" y="1361148"/>
                </a:moveTo>
                <a:cubicBezTo>
                  <a:pt x="693675" y="1361148"/>
                  <a:pt x="705365" y="1372838"/>
                  <a:pt x="705365" y="1387259"/>
                </a:cubicBezTo>
                <a:cubicBezTo>
                  <a:pt x="705365" y="1401680"/>
                  <a:pt x="693675" y="1413370"/>
                  <a:pt x="679254" y="1413370"/>
                </a:cubicBezTo>
                <a:cubicBezTo>
                  <a:pt x="664833" y="1413370"/>
                  <a:pt x="653143" y="1401680"/>
                  <a:pt x="653143" y="1387259"/>
                </a:cubicBezTo>
                <a:cubicBezTo>
                  <a:pt x="653143" y="1372838"/>
                  <a:pt x="664833" y="1361148"/>
                  <a:pt x="679254" y="1361148"/>
                </a:cubicBezTo>
                <a:close/>
                <a:moveTo>
                  <a:pt x="461540" y="1361148"/>
                </a:moveTo>
                <a:cubicBezTo>
                  <a:pt x="475961" y="1361148"/>
                  <a:pt x="487651" y="1372838"/>
                  <a:pt x="487651" y="1387259"/>
                </a:cubicBezTo>
                <a:cubicBezTo>
                  <a:pt x="487651" y="1401680"/>
                  <a:pt x="475961" y="1413370"/>
                  <a:pt x="461540" y="1413370"/>
                </a:cubicBezTo>
                <a:cubicBezTo>
                  <a:pt x="447119" y="1413370"/>
                  <a:pt x="435429" y="1401680"/>
                  <a:pt x="435429" y="1387259"/>
                </a:cubicBezTo>
                <a:cubicBezTo>
                  <a:pt x="435429" y="1372838"/>
                  <a:pt x="447119" y="1361148"/>
                  <a:pt x="461540" y="1361148"/>
                </a:cubicBezTo>
                <a:close/>
                <a:moveTo>
                  <a:pt x="243826" y="1361148"/>
                </a:moveTo>
                <a:cubicBezTo>
                  <a:pt x="258247" y="1361148"/>
                  <a:pt x="269937" y="1372838"/>
                  <a:pt x="269937" y="1387259"/>
                </a:cubicBezTo>
                <a:cubicBezTo>
                  <a:pt x="269937" y="1401680"/>
                  <a:pt x="258247" y="1413370"/>
                  <a:pt x="243826" y="1413370"/>
                </a:cubicBezTo>
                <a:cubicBezTo>
                  <a:pt x="229405" y="1413370"/>
                  <a:pt x="217715" y="1401680"/>
                  <a:pt x="217715" y="1387259"/>
                </a:cubicBezTo>
                <a:cubicBezTo>
                  <a:pt x="217715" y="1372838"/>
                  <a:pt x="229405" y="1361148"/>
                  <a:pt x="243826" y="1361148"/>
                </a:cubicBezTo>
                <a:close/>
                <a:moveTo>
                  <a:pt x="26112" y="1361148"/>
                </a:moveTo>
                <a:cubicBezTo>
                  <a:pt x="40533" y="1361148"/>
                  <a:pt x="52223" y="1372838"/>
                  <a:pt x="52223" y="1387259"/>
                </a:cubicBezTo>
                <a:cubicBezTo>
                  <a:pt x="52223" y="1401680"/>
                  <a:pt x="40533" y="1413370"/>
                  <a:pt x="26112" y="1413370"/>
                </a:cubicBezTo>
                <a:cubicBezTo>
                  <a:pt x="11691" y="1413370"/>
                  <a:pt x="1" y="1401680"/>
                  <a:pt x="1" y="1387259"/>
                </a:cubicBezTo>
                <a:cubicBezTo>
                  <a:pt x="1" y="1372838"/>
                  <a:pt x="11691" y="1361148"/>
                  <a:pt x="26112" y="1361148"/>
                </a:cubicBezTo>
                <a:close/>
                <a:moveTo>
                  <a:pt x="1550111" y="1134290"/>
                </a:moveTo>
                <a:cubicBezTo>
                  <a:pt x="1564532" y="1134290"/>
                  <a:pt x="1576222" y="1145980"/>
                  <a:pt x="1576222" y="1160401"/>
                </a:cubicBezTo>
                <a:cubicBezTo>
                  <a:pt x="1576222" y="1174822"/>
                  <a:pt x="1564532" y="1186512"/>
                  <a:pt x="1550111" y="1186512"/>
                </a:cubicBezTo>
                <a:cubicBezTo>
                  <a:pt x="1535690" y="1186512"/>
                  <a:pt x="1524000" y="1174822"/>
                  <a:pt x="1524000" y="1160401"/>
                </a:cubicBezTo>
                <a:cubicBezTo>
                  <a:pt x="1524000" y="1145980"/>
                  <a:pt x="1535690" y="1134290"/>
                  <a:pt x="1550111" y="1134290"/>
                </a:cubicBezTo>
                <a:close/>
                <a:moveTo>
                  <a:pt x="1332397" y="1134290"/>
                </a:moveTo>
                <a:cubicBezTo>
                  <a:pt x="1346818" y="1134290"/>
                  <a:pt x="1358508" y="1145980"/>
                  <a:pt x="1358508" y="1160401"/>
                </a:cubicBezTo>
                <a:cubicBezTo>
                  <a:pt x="1358508" y="1174822"/>
                  <a:pt x="1346818" y="1186512"/>
                  <a:pt x="1332397" y="1186512"/>
                </a:cubicBezTo>
                <a:cubicBezTo>
                  <a:pt x="1317976" y="1186512"/>
                  <a:pt x="1306286" y="1174822"/>
                  <a:pt x="1306286" y="1160401"/>
                </a:cubicBezTo>
                <a:cubicBezTo>
                  <a:pt x="1306286" y="1145980"/>
                  <a:pt x="1317976" y="1134290"/>
                  <a:pt x="1332397" y="1134290"/>
                </a:cubicBezTo>
                <a:close/>
                <a:moveTo>
                  <a:pt x="1114684" y="1134290"/>
                </a:moveTo>
                <a:cubicBezTo>
                  <a:pt x="1129105" y="1134290"/>
                  <a:pt x="1140795" y="1145980"/>
                  <a:pt x="1140795" y="1160401"/>
                </a:cubicBezTo>
                <a:cubicBezTo>
                  <a:pt x="1140795" y="1174822"/>
                  <a:pt x="1129105" y="1186512"/>
                  <a:pt x="1114684" y="1186512"/>
                </a:cubicBezTo>
                <a:cubicBezTo>
                  <a:pt x="1100263" y="1186512"/>
                  <a:pt x="1088573" y="1174822"/>
                  <a:pt x="1088573" y="1160401"/>
                </a:cubicBezTo>
                <a:cubicBezTo>
                  <a:pt x="1088573" y="1145980"/>
                  <a:pt x="1100263" y="1134290"/>
                  <a:pt x="1114684" y="1134290"/>
                </a:cubicBezTo>
                <a:close/>
                <a:moveTo>
                  <a:pt x="896970" y="1134290"/>
                </a:moveTo>
                <a:cubicBezTo>
                  <a:pt x="911391" y="1134290"/>
                  <a:pt x="923081" y="1145980"/>
                  <a:pt x="923081" y="1160401"/>
                </a:cubicBezTo>
                <a:cubicBezTo>
                  <a:pt x="923081" y="1174822"/>
                  <a:pt x="911391" y="1186512"/>
                  <a:pt x="896970" y="1186512"/>
                </a:cubicBezTo>
                <a:cubicBezTo>
                  <a:pt x="882549" y="1186512"/>
                  <a:pt x="870859" y="1174822"/>
                  <a:pt x="870859" y="1160401"/>
                </a:cubicBezTo>
                <a:cubicBezTo>
                  <a:pt x="870859" y="1145980"/>
                  <a:pt x="882549" y="1134290"/>
                  <a:pt x="896970" y="1134290"/>
                </a:cubicBezTo>
                <a:close/>
                <a:moveTo>
                  <a:pt x="679255" y="1134290"/>
                </a:moveTo>
                <a:cubicBezTo>
                  <a:pt x="693676" y="1134290"/>
                  <a:pt x="705366" y="1145980"/>
                  <a:pt x="705366" y="1160401"/>
                </a:cubicBezTo>
                <a:cubicBezTo>
                  <a:pt x="705366" y="1174822"/>
                  <a:pt x="693676" y="1186512"/>
                  <a:pt x="679255" y="1186512"/>
                </a:cubicBezTo>
                <a:cubicBezTo>
                  <a:pt x="664834" y="1186512"/>
                  <a:pt x="653144" y="1174822"/>
                  <a:pt x="653144" y="1160401"/>
                </a:cubicBezTo>
                <a:cubicBezTo>
                  <a:pt x="653144" y="1145980"/>
                  <a:pt x="664834" y="1134290"/>
                  <a:pt x="679255" y="1134290"/>
                </a:cubicBezTo>
                <a:close/>
                <a:moveTo>
                  <a:pt x="461541" y="1134290"/>
                </a:moveTo>
                <a:cubicBezTo>
                  <a:pt x="475962" y="1134290"/>
                  <a:pt x="487652" y="1145980"/>
                  <a:pt x="487652" y="1160401"/>
                </a:cubicBezTo>
                <a:cubicBezTo>
                  <a:pt x="487652" y="1174822"/>
                  <a:pt x="475962" y="1186512"/>
                  <a:pt x="461541" y="1186512"/>
                </a:cubicBezTo>
                <a:cubicBezTo>
                  <a:pt x="447120" y="1186512"/>
                  <a:pt x="435430" y="1174822"/>
                  <a:pt x="435430" y="1160401"/>
                </a:cubicBezTo>
                <a:cubicBezTo>
                  <a:pt x="435430" y="1145980"/>
                  <a:pt x="447120" y="1134290"/>
                  <a:pt x="461541" y="1134290"/>
                </a:cubicBezTo>
                <a:close/>
                <a:moveTo>
                  <a:pt x="243827" y="1134290"/>
                </a:moveTo>
                <a:cubicBezTo>
                  <a:pt x="258248" y="1134290"/>
                  <a:pt x="269938" y="1145980"/>
                  <a:pt x="269938" y="1160401"/>
                </a:cubicBezTo>
                <a:cubicBezTo>
                  <a:pt x="269938" y="1174822"/>
                  <a:pt x="258248" y="1186512"/>
                  <a:pt x="243827" y="1186512"/>
                </a:cubicBezTo>
                <a:cubicBezTo>
                  <a:pt x="229406" y="1186512"/>
                  <a:pt x="217716" y="1174822"/>
                  <a:pt x="217716" y="1160401"/>
                </a:cubicBezTo>
                <a:cubicBezTo>
                  <a:pt x="217716" y="1145980"/>
                  <a:pt x="229406" y="1134290"/>
                  <a:pt x="243827" y="1134290"/>
                </a:cubicBezTo>
                <a:close/>
                <a:moveTo>
                  <a:pt x="26113" y="1134290"/>
                </a:moveTo>
                <a:cubicBezTo>
                  <a:pt x="40534" y="1134290"/>
                  <a:pt x="52224" y="1145980"/>
                  <a:pt x="52224" y="1160401"/>
                </a:cubicBezTo>
                <a:cubicBezTo>
                  <a:pt x="52224" y="1174822"/>
                  <a:pt x="40534" y="1186512"/>
                  <a:pt x="26113" y="1186512"/>
                </a:cubicBezTo>
                <a:cubicBezTo>
                  <a:pt x="11692" y="1186512"/>
                  <a:pt x="2" y="1174822"/>
                  <a:pt x="2" y="1160401"/>
                </a:cubicBezTo>
                <a:cubicBezTo>
                  <a:pt x="2" y="1145980"/>
                  <a:pt x="11692" y="1134290"/>
                  <a:pt x="26113" y="1134290"/>
                </a:cubicBezTo>
                <a:close/>
                <a:moveTo>
                  <a:pt x="1550112" y="907432"/>
                </a:moveTo>
                <a:cubicBezTo>
                  <a:pt x="1564533" y="907432"/>
                  <a:pt x="1576223" y="919122"/>
                  <a:pt x="1576223" y="933543"/>
                </a:cubicBezTo>
                <a:cubicBezTo>
                  <a:pt x="1576223" y="947964"/>
                  <a:pt x="1564533" y="959654"/>
                  <a:pt x="1550112" y="959654"/>
                </a:cubicBezTo>
                <a:cubicBezTo>
                  <a:pt x="1535691" y="959654"/>
                  <a:pt x="1524001" y="947964"/>
                  <a:pt x="1524001" y="933543"/>
                </a:cubicBezTo>
                <a:cubicBezTo>
                  <a:pt x="1524001" y="919122"/>
                  <a:pt x="1535691" y="907432"/>
                  <a:pt x="1550112" y="907432"/>
                </a:cubicBezTo>
                <a:close/>
                <a:moveTo>
                  <a:pt x="1332398" y="907432"/>
                </a:moveTo>
                <a:cubicBezTo>
                  <a:pt x="1346819" y="907432"/>
                  <a:pt x="1358509" y="919122"/>
                  <a:pt x="1358509" y="933543"/>
                </a:cubicBezTo>
                <a:cubicBezTo>
                  <a:pt x="1358509" y="947964"/>
                  <a:pt x="1346819" y="959654"/>
                  <a:pt x="1332398" y="959654"/>
                </a:cubicBezTo>
                <a:cubicBezTo>
                  <a:pt x="1317977" y="959654"/>
                  <a:pt x="1306287" y="947964"/>
                  <a:pt x="1306287" y="933543"/>
                </a:cubicBezTo>
                <a:cubicBezTo>
                  <a:pt x="1306287" y="919122"/>
                  <a:pt x="1317977" y="907432"/>
                  <a:pt x="1332398" y="907432"/>
                </a:cubicBezTo>
                <a:close/>
                <a:moveTo>
                  <a:pt x="1114685" y="907432"/>
                </a:moveTo>
                <a:cubicBezTo>
                  <a:pt x="1129106" y="907432"/>
                  <a:pt x="1140796" y="919122"/>
                  <a:pt x="1140796" y="933543"/>
                </a:cubicBezTo>
                <a:cubicBezTo>
                  <a:pt x="1140796" y="947964"/>
                  <a:pt x="1129106" y="959654"/>
                  <a:pt x="1114685" y="959654"/>
                </a:cubicBezTo>
                <a:cubicBezTo>
                  <a:pt x="1100264" y="959654"/>
                  <a:pt x="1088574" y="947964"/>
                  <a:pt x="1088574" y="933543"/>
                </a:cubicBezTo>
                <a:cubicBezTo>
                  <a:pt x="1088574" y="919122"/>
                  <a:pt x="1100264" y="907432"/>
                  <a:pt x="1114685" y="907432"/>
                </a:cubicBezTo>
                <a:close/>
                <a:moveTo>
                  <a:pt x="896971" y="907432"/>
                </a:moveTo>
                <a:cubicBezTo>
                  <a:pt x="911392" y="907432"/>
                  <a:pt x="923082" y="919122"/>
                  <a:pt x="923082" y="933543"/>
                </a:cubicBezTo>
                <a:cubicBezTo>
                  <a:pt x="923082" y="947964"/>
                  <a:pt x="911392" y="959654"/>
                  <a:pt x="896971" y="959654"/>
                </a:cubicBezTo>
                <a:cubicBezTo>
                  <a:pt x="882550" y="959654"/>
                  <a:pt x="870860" y="947964"/>
                  <a:pt x="870860" y="933543"/>
                </a:cubicBezTo>
                <a:cubicBezTo>
                  <a:pt x="870860" y="919122"/>
                  <a:pt x="882550" y="907432"/>
                  <a:pt x="896971" y="907432"/>
                </a:cubicBezTo>
                <a:close/>
                <a:moveTo>
                  <a:pt x="679256" y="907432"/>
                </a:moveTo>
                <a:cubicBezTo>
                  <a:pt x="693677" y="907432"/>
                  <a:pt x="705367" y="919122"/>
                  <a:pt x="705367" y="933543"/>
                </a:cubicBezTo>
                <a:cubicBezTo>
                  <a:pt x="705367" y="947964"/>
                  <a:pt x="693677" y="959654"/>
                  <a:pt x="679256" y="959654"/>
                </a:cubicBezTo>
                <a:cubicBezTo>
                  <a:pt x="664835" y="959654"/>
                  <a:pt x="653145" y="947964"/>
                  <a:pt x="653145" y="933543"/>
                </a:cubicBezTo>
                <a:cubicBezTo>
                  <a:pt x="653145" y="919122"/>
                  <a:pt x="664835" y="907432"/>
                  <a:pt x="679256" y="907432"/>
                </a:cubicBezTo>
                <a:close/>
                <a:moveTo>
                  <a:pt x="461542" y="907432"/>
                </a:moveTo>
                <a:cubicBezTo>
                  <a:pt x="475963" y="907432"/>
                  <a:pt x="487653" y="919122"/>
                  <a:pt x="487653" y="933543"/>
                </a:cubicBezTo>
                <a:cubicBezTo>
                  <a:pt x="487653" y="947964"/>
                  <a:pt x="475963" y="959654"/>
                  <a:pt x="461542" y="959654"/>
                </a:cubicBezTo>
                <a:cubicBezTo>
                  <a:pt x="447121" y="959654"/>
                  <a:pt x="435431" y="947964"/>
                  <a:pt x="435431" y="933543"/>
                </a:cubicBezTo>
                <a:cubicBezTo>
                  <a:pt x="435431" y="919122"/>
                  <a:pt x="447121" y="907432"/>
                  <a:pt x="461542" y="907432"/>
                </a:cubicBezTo>
                <a:close/>
                <a:moveTo>
                  <a:pt x="243828" y="907432"/>
                </a:moveTo>
                <a:cubicBezTo>
                  <a:pt x="258249" y="907432"/>
                  <a:pt x="269939" y="919122"/>
                  <a:pt x="269939" y="933543"/>
                </a:cubicBezTo>
                <a:cubicBezTo>
                  <a:pt x="269939" y="947964"/>
                  <a:pt x="258249" y="959654"/>
                  <a:pt x="243828" y="959654"/>
                </a:cubicBezTo>
                <a:cubicBezTo>
                  <a:pt x="229407" y="959654"/>
                  <a:pt x="217717" y="947964"/>
                  <a:pt x="217717" y="933543"/>
                </a:cubicBezTo>
                <a:cubicBezTo>
                  <a:pt x="217717" y="919122"/>
                  <a:pt x="229407" y="907432"/>
                  <a:pt x="243828" y="907432"/>
                </a:cubicBezTo>
                <a:close/>
                <a:moveTo>
                  <a:pt x="26114" y="907432"/>
                </a:moveTo>
                <a:cubicBezTo>
                  <a:pt x="40535" y="907432"/>
                  <a:pt x="52225" y="919122"/>
                  <a:pt x="52225" y="933543"/>
                </a:cubicBezTo>
                <a:cubicBezTo>
                  <a:pt x="52225" y="947964"/>
                  <a:pt x="40535" y="959654"/>
                  <a:pt x="26114" y="959654"/>
                </a:cubicBezTo>
                <a:cubicBezTo>
                  <a:pt x="11693" y="959654"/>
                  <a:pt x="3" y="947964"/>
                  <a:pt x="3" y="933543"/>
                </a:cubicBezTo>
                <a:cubicBezTo>
                  <a:pt x="3" y="919122"/>
                  <a:pt x="11693" y="907432"/>
                  <a:pt x="26114" y="907432"/>
                </a:cubicBezTo>
                <a:close/>
                <a:moveTo>
                  <a:pt x="1550113" y="680574"/>
                </a:moveTo>
                <a:cubicBezTo>
                  <a:pt x="1564534" y="680574"/>
                  <a:pt x="1576224" y="692264"/>
                  <a:pt x="1576224" y="706685"/>
                </a:cubicBezTo>
                <a:cubicBezTo>
                  <a:pt x="1576224" y="721106"/>
                  <a:pt x="1564534" y="732796"/>
                  <a:pt x="1550113" y="732796"/>
                </a:cubicBezTo>
                <a:cubicBezTo>
                  <a:pt x="1535692" y="732796"/>
                  <a:pt x="1524002" y="721106"/>
                  <a:pt x="1524002" y="706685"/>
                </a:cubicBezTo>
                <a:cubicBezTo>
                  <a:pt x="1524002" y="692264"/>
                  <a:pt x="1535692" y="680574"/>
                  <a:pt x="1550113" y="680574"/>
                </a:cubicBezTo>
                <a:close/>
                <a:moveTo>
                  <a:pt x="1332399" y="680574"/>
                </a:moveTo>
                <a:cubicBezTo>
                  <a:pt x="1346820" y="680574"/>
                  <a:pt x="1358510" y="692264"/>
                  <a:pt x="1358510" y="706685"/>
                </a:cubicBezTo>
                <a:cubicBezTo>
                  <a:pt x="1358510" y="721106"/>
                  <a:pt x="1346820" y="732796"/>
                  <a:pt x="1332399" y="732796"/>
                </a:cubicBezTo>
                <a:cubicBezTo>
                  <a:pt x="1317978" y="732796"/>
                  <a:pt x="1306288" y="721106"/>
                  <a:pt x="1306288" y="706685"/>
                </a:cubicBezTo>
                <a:cubicBezTo>
                  <a:pt x="1306288" y="692264"/>
                  <a:pt x="1317978" y="680574"/>
                  <a:pt x="1332399" y="680574"/>
                </a:cubicBezTo>
                <a:close/>
                <a:moveTo>
                  <a:pt x="1114686" y="680574"/>
                </a:moveTo>
                <a:cubicBezTo>
                  <a:pt x="1129107" y="680574"/>
                  <a:pt x="1140797" y="692264"/>
                  <a:pt x="1140797" y="706685"/>
                </a:cubicBezTo>
                <a:cubicBezTo>
                  <a:pt x="1140797" y="721106"/>
                  <a:pt x="1129107" y="732796"/>
                  <a:pt x="1114686" y="732796"/>
                </a:cubicBezTo>
                <a:cubicBezTo>
                  <a:pt x="1100265" y="732796"/>
                  <a:pt x="1088575" y="721106"/>
                  <a:pt x="1088575" y="706685"/>
                </a:cubicBezTo>
                <a:cubicBezTo>
                  <a:pt x="1088575" y="692264"/>
                  <a:pt x="1100265" y="680574"/>
                  <a:pt x="1114686" y="680574"/>
                </a:cubicBezTo>
                <a:close/>
                <a:moveTo>
                  <a:pt x="896972" y="680574"/>
                </a:moveTo>
                <a:cubicBezTo>
                  <a:pt x="911393" y="680574"/>
                  <a:pt x="923083" y="692264"/>
                  <a:pt x="923083" y="706685"/>
                </a:cubicBezTo>
                <a:cubicBezTo>
                  <a:pt x="923083" y="721106"/>
                  <a:pt x="911393" y="732796"/>
                  <a:pt x="896972" y="732796"/>
                </a:cubicBezTo>
                <a:cubicBezTo>
                  <a:pt x="882551" y="732796"/>
                  <a:pt x="870861" y="721106"/>
                  <a:pt x="870861" y="706685"/>
                </a:cubicBezTo>
                <a:cubicBezTo>
                  <a:pt x="870861" y="692264"/>
                  <a:pt x="882551" y="680574"/>
                  <a:pt x="896972" y="680574"/>
                </a:cubicBezTo>
                <a:close/>
                <a:moveTo>
                  <a:pt x="679257" y="680574"/>
                </a:moveTo>
                <a:cubicBezTo>
                  <a:pt x="693678" y="680574"/>
                  <a:pt x="705368" y="692264"/>
                  <a:pt x="705368" y="706685"/>
                </a:cubicBezTo>
                <a:cubicBezTo>
                  <a:pt x="705368" y="721106"/>
                  <a:pt x="693678" y="732796"/>
                  <a:pt x="679257" y="732796"/>
                </a:cubicBezTo>
                <a:cubicBezTo>
                  <a:pt x="664836" y="732796"/>
                  <a:pt x="653146" y="721106"/>
                  <a:pt x="653146" y="706685"/>
                </a:cubicBezTo>
                <a:cubicBezTo>
                  <a:pt x="653146" y="692264"/>
                  <a:pt x="664836" y="680574"/>
                  <a:pt x="679257" y="680574"/>
                </a:cubicBezTo>
                <a:close/>
                <a:moveTo>
                  <a:pt x="461543" y="680574"/>
                </a:moveTo>
                <a:cubicBezTo>
                  <a:pt x="475964" y="680574"/>
                  <a:pt x="487654" y="692264"/>
                  <a:pt x="487654" y="706685"/>
                </a:cubicBezTo>
                <a:cubicBezTo>
                  <a:pt x="487654" y="721106"/>
                  <a:pt x="475964" y="732796"/>
                  <a:pt x="461543" y="732796"/>
                </a:cubicBezTo>
                <a:cubicBezTo>
                  <a:pt x="447122" y="732796"/>
                  <a:pt x="435432" y="721106"/>
                  <a:pt x="435432" y="706685"/>
                </a:cubicBezTo>
                <a:cubicBezTo>
                  <a:pt x="435432" y="692264"/>
                  <a:pt x="447122" y="680574"/>
                  <a:pt x="461543" y="680574"/>
                </a:cubicBezTo>
                <a:close/>
                <a:moveTo>
                  <a:pt x="243829" y="680574"/>
                </a:moveTo>
                <a:cubicBezTo>
                  <a:pt x="258250" y="680574"/>
                  <a:pt x="269940" y="692264"/>
                  <a:pt x="269940" y="706685"/>
                </a:cubicBezTo>
                <a:cubicBezTo>
                  <a:pt x="269940" y="721106"/>
                  <a:pt x="258250" y="732796"/>
                  <a:pt x="243829" y="732796"/>
                </a:cubicBezTo>
                <a:cubicBezTo>
                  <a:pt x="229408" y="732796"/>
                  <a:pt x="217718" y="721106"/>
                  <a:pt x="217718" y="706685"/>
                </a:cubicBezTo>
                <a:cubicBezTo>
                  <a:pt x="217718" y="692264"/>
                  <a:pt x="229408" y="680574"/>
                  <a:pt x="243829" y="680574"/>
                </a:cubicBezTo>
                <a:close/>
                <a:moveTo>
                  <a:pt x="26115" y="680574"/>
                </a:moveTo>
                <a:cubicBezTo>
                  <a:pt x="40536" y="680574"/>
                  <a:pt x="52226" y="692264"/>
                  <a:pt x="52226" y="706685"/>
                </a:cubicBezTo>
                <a:cubicBezTo>
                  <a:pt x="52226" y="721106"/>
                  <a:pt x="40536" y="732796"/>
                  <a:pt x="26115" y="732796"/>
                </a:cubicBezTo>
                <a:cubicBezTo>
                  <a:pt x="11694" y="732796"/>
                  <a:pt x="4" y="721106"/>
                  <a:pt x="4" y="706685"/>
                </a:cubicBezTo>
                <a:cubicBezTo>
                  <a:pt x="4" y="692264"/>
                  <a:pt x="11694" y="680574"/>
                  <a:pt x="26115" y="680574"/>
                </a:cubicBezTo>
                <a:close/>
                <a:moveTo>
                  <a:pt x="26116" y="453717"/>
                </a:moveTo>
                <a:cubicBezTo>
                  <a:pt x="40537" y="453717"/>
                  <a:pt x="52227" y="465407"/>
                  <a:pt x="52227" y="479827"/>
                </a:cubicBezTo>
                <a:cubicBezTo>
                  <a:pt x="52227" y="494249"/>
                  <a:pt x="40537" y="505939"/>
                  <a:pt x="26116" y="505939"/>
                </a:cubicBezTo>
                <a:cubicBezTo>
                  <a:pt x="11695" y="505939"/>
                  <a:pt x="5" y="494249"/>
                  <a:pt x="5" y="479827"/>
                </a:cubicBezTo>
                <a:cubicBezTo>
                  <a:pt x="5" y="465407"/>
                  <a:pt x="11695" y="453717"/>
                  <a:pt x="26116" y="453717"/>
                </a:cubicBezTo>
                <a:close/>
                <a:moveTo>
                  <a:pt x="243830" y="453717"/>
                </a:moveTo>
                <a:cubicBezTo>
                  <a:pt x="258251" y="453717"/>
                  <a:pt x="269941" y="465407"/>
                  <a:pt x="269941" y="479827"/>
                </a:cubicBezTo>
                <a:cubicBezTo>
                  <a:pt x="269941" y="494249"/>
                  <a:pt x="258251" y="505939"/>
                  <a:pt x="243830" y="505939"/>
                </a:cubicBezTo>
                <a:cubicBezTo>
                  <a:pt x="229409" y="505939"/>
                  <a:pt x="217719" y="494249"/>
                  <a:pt x="217719" y="479827"/>
                </a:cubicBezTo>
                <a:cubicBezTo>
                  <a:pt x="217719" y="465407"/>
                  <a:pt x="229409" y="453717"/>
                  <a:pt x="243830" y="453717"/>
                </a:cubicBezTo>
                <a:close/>
                <a:moveTo>
                  <a:pt x="461544" y="453717"/>
                </a:moveTo>
                <a:cubicBezTo>
                  <a:pt x="475965" y="453717"/>
                  <a:pt x="487655" y="465407"/>
                  <a:pt x="487655" y="479827"/>
                </a:cubicBezTo>
                <a:cubicBezTo>
                  <a:pt x="487655" y="494249"/>
                  <a:pt x="475965" y="505939"/>
                  <a:pt x="461544" y="505939"/>
                </a:cubicBezTo>
                <a:cubicBezTo>
                  <a:pt x="447123" y="505939"/>
                  <a:pt x="435433" y="494249"/>
                  <a:pt x="435433" y="479827"/>
                </a:cubicBezTo>
                <a:cubicBezTo>
                  <a:pt x="435433" y="465407"/>
                  <a:pt x="447123" y="453717"/>
                  <a:pt x="461544" y="453717"/>
                </a:cubicBezTo>
                <a:close/>
                <a:moveTo>
                  <a:pt x="679258" y="453717"/>
                </a:moveTo>
                <a:cubicBezTo>
                  <a:pt x="693679" y="453717"/>
                  <a:pt x="705369" y="465407"/>
                  <a:pt x="705369" y="479827"/>
                </a:cubicBezTo>
                <a:cubicBezTo>
                  <a:pt x="705369" y="494249"/>
                  <a:pt x="693679" y="505939"/>
                  <a:pt x="679258" y="505939"/>
                </a:cubicBezTo>
                <a:cubicBezTo>
                  <a:pt x="664837" y="505939"/>
                  <a:pt x="653147" y="494249"/>
                  <a:pt x="653147" y="479827"/>
                </a:cubicBezTo>
                <a:cubicBezTo>
                  <a:pt x="653147" y="465407"/>
                  <a:pt x="664837" y="453717"/>
                  <a:pt x="679258" y="453717"/>
                </a:cubicBezTo>
                <a:close/>
                <a:moveTo>
                  <a:pt x="896973" y="453717"/>
                </a:moveTo>
                <a:cubicBezTo>
                  <a:pt x="911394" y="453717"/>
                  <a:pt x="923084" y="465406"/>
                  <a:pt x="923084" y="479827"/>
                </a:cubicBezTo>
                <a:cubicBezTo>
                  <a:pt x="923084" y="494248"/>
                  <a:pt x="911394" y="505939"/>
                  <a:pt x="896973" y="505939"/>
                </a:cubicBezTo>
                <a:cubicBezTo>
                  <a:pt x="882552" y="505939"/>
                  <a:pt x="870862" y="494248"/>
                  <a:pt x="870862" y="479827"/>
                </a:cubicBezTo>
                <a:cubicBezTo>
                  <a:pt x="870862" y="465406"/>
                  <a:pt x="882552" y="453717"/>
                  <a:pt x="896973" y="453717"/>
                </a:cubicBezTo>
                <a:close/>
                <a:moveTo>
                  <a:pt x="1114687" y="453717"/>
                </a:moveTo>
                <a:cubicBezTo>
                  <a:pt x="1129108" y="453717"/>
                  <a:pt x="1140798" y="465406"/>
                  <a:pt x="1140798" y="479827"/>
                </a:cubicBezTo>
                <a:cubicBezTo>
                  <a:pt x="1140798" y="494248"/>
                  <a:pt x="1129108" y="505938"/>
                  <a:pt x="1114687" y="505938"/>
                </a:cubicBezTo>
                <a:cubicBezTo>
                  <a:pt x="1100266" y="505938"/>
                  <a:pt x="1088576" y="494248"/>
                  <a:pt x="1088576" y="479827"/>
                </a:cubicBezTo>
                <a:cubicBezTo>
                  <a:pt x="1088576" y="465406"/>
                  <a:pt x="1100266" y="453717"/>
                  <a:pt x="1114687" y="453717"/>
                </a:cubicBezTo>
                <a:close/>
                <a:moveTo>
                  <a:pt x="1332400" y="453716"/>
                </a:moveTo>
                <a:cubicBezTo>
                  <a:pt x="1346821" y="453716"/>
                  <a:pt x="1358511" y="465406"/>
                  <a:pt x="1358511" y="479827"/>
                </a:cubicBezTo>
                <a:cubicBezTo>
                  <a:pt x="1358511" y="494248"/>
                  <a:pt x="1346821" y="505938"/>
                  <a:pt x="1332400" y="505938"/>
                </a:cubicBezTo>
                <a:cubicBezTo>
                  <a:pt x="1317979" y="505938"/>
                  <a:pt x="1306289" y="494248"/>
                  <a:pt x="1306289" y="479827"/>
                </a:cubicBezTo>
                <a:cubicBezTo>
                  <a:pt x="1306289" y="465406"/>
                  <a:pt x="1317979" y="453716"/>
                  <a:pt x="1332400" y="453716"/>
                </a:cubicBezTo>
                <a:close/>
                <a:moveTo>
                  <a:pt x="1550114" y="453716"/>
                </a:moveTo>
                <a:cubicBezTo>
                  <a:pt x="1564535" y="453716"/>
                  <a:pt x="1576225" y="465406"/>
                  <a:pt x="1576225" y="479827"/>
                </a:cubicBezTo>
                <a:cubicBezTo>
                  <a:pt x="1576225" y="494248"/>
                  <a:pt x="1564535" y="505938"/>
                  <a:pt x="1550114" y="505938"/>
                </a:cubicBezTo>
                <a:cubicBezTo>
                  <a:pt x="1535693" y="505938"/>
                  <a:pt x="1524003" y="494248"/>
                  <a:pt x="1524003" y="479827"/>
                </a:cubicBezTo>
                <a:cubicBezTo>
                  <a:pt x="1524003" y="465406"/>
                  <a:pt x="1535693" y="453716"/>
                  <a:pt x="1550114" y="453716"/>
                </a:cubicBezTo>
                <a:close/>
                <a:moveTo>
                  <a:pt x="1114688" y="226858"/>
                </a:moveTo>
                <a:cubicBezTo>
                  <a:pt x="1129109" y="226858"/>
                  <a:pt x="1140799" y="238548"/>
                  <a:pt x="1140799" y="252969"/>
                </a:cubicBezTo>
                <a:cubicBezTo>
                  <a:pt x="1140799" y="267390"/>
                  <a:pt x="1129109" y="279080"/>
                  <a:pt x="1114688" y="279080"/>
                </a:cubicBezTo>
                <a:cubicBezTo>
                  <a:pt x="1100267" y="279080"/>
                  <a:pt x="1088577" y="267390"/>
                  <a:pt x="1088577" y="252969"/>
                </a:cubicBezTo>
                <a:cubicBezTo>
                  <a:pt x="1088577" y="238548"/>
                  <a:pt x="1100267" y="226858"/>
                  <a:pt x="1114688" y="226858"/>
                </a:cubicBezTo>
                <a:close/>
                <a:moveTo>
                  <a:pt x="896974" y="226858"/>
                </a:moveTo>
                <a:cubicBezTo>
                  <a:pt x="911395" y="226858"/>
                  <a:pt x="923085" y="238548"/>
                  <a:pt x="923085" y="252969"/>
                </a:cubicBezTo>
                <a:cubicBezTo>
                  <a:pt x="923085" y="267390"/>
                  <a:pt x="911395" y="279080"/>
                  <a:pt x="896974" y="279080"/>
                </a:cubicBezTo>
                <a:cubicBezTo>
                  <a:pt x="882553" y="279080"/>
                  <a:pt x="870863" y="267390"/>
                  <a:pt x="870863" y="252969"/>
                </a:cubicBezTo>
                <a:cubicBezTo>
                  <a:pt x="870863" y="238548"/>
                  <a:pt x="882553" y="226858"/>
                  <a:pt x="896974" y="226858"/>
                </a:cubicBezTo>
                <a:close/>
                <a:moveTo>
                  <a:pt x="679259" y="226858"/>
                </a:moveTo>
                <a:cubicBezTo>
                  <a:pt x="693680" y="226858"/>
                  <a:pt x="705370" y="238548"/>
                  <a:pt x="705370" y="252970"/>
                </a:cubicBezTo>
                <a:cubicBezTo>
                  <a:pt x="705370" y="267391"/>
                  <a:pt x="693680" y="279080"/>
                  <a:pt x="679259" y="279080"/>
                </a:cubicBezTo>
                <a:cubicBezTo>
                  <a:pt x="664838" y="279080"/>
                  <a:pt x="653148" y="267391"/>
                  <a:pt x="653148" y="252970"/>
                </a:cubicBezTo>
                <a:cubicBezTo>
                  <a:pt x="653148" y="238548"/>
                  <a:pt x="664838" y="226858"/>
                  <a:pt x="679259" y="226858"/>
                </a:cubicBezTo>
                <a:close/>
                <a:moveTo>
                  <a:pt x="461545" y="226858"/>
                </a:moveTo>
                <a:cubicBezTo>
                  <a:pt x="475966" y="226858"/>
                  <a:pt x="487656" y="238549"/>
                  <a:pt x="487656" y="252970"/>
                </a:cubicBezTo>
                <a:cubicBezTo>
                  <a:pt x="487656" y="267391"/>
                  <a:pt x="475966" y="279081"/>
                  <a:pt x="461545" y="279081"/>
                </a:cubicBezTo>
                <a:cubicBezTo>
                  <a:pt x="447124" y="279081"/>
                  <a:pt x="435434" y="267391"/>
                  <a:pt x="435434" y="252970"/>
                </a:cubicBezTo>
                <a:cubicBezTo>
                  <a:pt x="435434" y="238549"/>
                  <a:pt x="447124" y="226858"/>
                  <a:pt x="461545" y="226858"/>
                </a:cubicBezTo>
                <a:close/>
                <a:moveTo>
                  <a:pt x="243831" y="226858"/>
                </a:moveTo>
                <a:cubicBezTo>
                  <a:pt x="258252" y="226858"/>
                  <a:pt x="269942" y="238549"/>
                  <a:pt x="269942" y="252970"/>
                </a:cubicBezTo>
                <a:cubicBezTo>
                  <a:pt x="269942" y="267391"/>
                  <a:pt x="258252" y="279081"/>
                  <a:pt x="243831" y="279081"/>
                </a:cubicBezTo>
                <a:cubicBezTo>
                  <a:pt x="229410" y="279081"/>
                  <a:pt x="217720" y="267391"/>
                  <a:pt x="217720" y="252970"/>
                </a:cubicBezTo>
                <a:cubicBezTo>
                  <a:pt x="217720" y="238549"/>
                  <a:pt x="229410" y="226858"/>
                  <a:pt x="243831" y="226858"/>
                </a:cubicBezTo>
                <a:close/>
                <a:moveTo>
                  <a:pt x="26117" y="226858"/>
                </a:moveTo>
                <a:cubicBezTo>
                  <a:pt x="40538" y="226858"/>
                  <a:pt x="52228" y="238549"/>
                  <a:pt x="52228" y="252970"/>
                </a:cubicBezTo>
                <a:cubicBezTo>
                  <a:pt x="52228" y="267391"/>
                  <a:pt x="40538" y="279081"/>
                  <a:pt x="26117" y="279081"/>
                </a:cubicBezTo>
                <a:cubicBezTo>
                  <a:pt x="11696" y="279081"/>
                  <a:pt x="6" y="267391"/>
                  <a:pt x="6" y="252970"/>
                </a:cubicBezTo>
                <a:cubicBezTo>
                  <a:pt x="6" y="238549"/>
                  <a:pt x="11696" y="226858"/>
                  <a:pt x="26117" y="226858"/>
                </a:cubicBezTo>
                <a:close/>
                <a:moveTo>
                  <a:pt x="1332401" y="226858"/>
                </a:moveTo>
                <a:cubicBezTo>
                  <a:pt x="1346822" y="226858"/>
                  <a:pt x="1358512" y="238548"/>
                  <a:pt x="1358512" y="252969"/>
                </a:cubicBezTo>
                <a:cubicBezTo>
                  <a:pt x="1358512" y="267390"/>
                  <a:pt x="1346822" y="279080"/>
                  <a:pt x="1332401" y="279080"/>
                </a:cubicBezTo>
                <a:cubicBezTo>
                  <a:pt x="1317980" y="279080"/>
                  <a:pt x="1306290" y="267390"/>
                  <a:pt x="1306290" y="252969"/>
                </a:cubicBezTo>
                <a:cubicBezTo>
                  <a:pt x="1306290" y="238548"/>
                  <a:pt x="1317980" y="226858"/>
                  <a:pt x="1332401" y="226858"/>
                </a:cubicBezTo>
                <a:close/>
                <a:moveTo>
                  <a:pt x="1550115" y="226858"/>
                </a:moveTo>
                <a:cubicBezTo>
                  <a:pt x="1564536" y="226858"/>
                  <a:pt x="1576226" y="238548"/>
                  <a:pt x="1576226" y="252969"/>
                </a:cubicBezTo>
                <a:cubicBezTo>
                  <a:pt x="1576226" y="267390"/>
                  <a:pt x="1564536" y="279080"/>
                  <a:pt x="1550115" y="279080"/>
                </a:cubicBezTo>
                <a:cubicBezTo>
                  <a:pt x="1535694" y="279080"/>
                  <a:pt x="1524004" y="267390"/>
                  <a:pt x="1524004" y="252969"/>
                </a:cubicBezTo>
                <a:cubicBezTo>
                  <a:pt x="1524004" y="238548"/>
                  <a:pt x="1535694" y="226858"/>
                  <a:pt x="1550115" y="226858"/>
                </a:cubicBezTo>
                <a:close/>
                <a:moveTo>
                  <a:pt x="26117" y="2"/>
                </a:moveTo>
                <a:cubicBezTo>
                  <a:pt x="40538" y="2"/>
                  <a:pt x="52228" y="11692"/>
                  <a:pt x="52228" y="26113"/>
                </a:cubicBezTo>
                <a:cubicBezTo>
                  <a:pt x="52228" y="40534"/>
                  <a:pt x="40538" y="52224"/>
                  <a:pt x="26117" y="52224"/>
                </a:cubicBezTo>
                <a:cubicBezTo>
                  <a:pt x="11696" y="52224"/>
                  <a:pt x="6" y="40534"/>
                  <a:pt x="6" y="26113"/>
                </a:cubicBezTo>
                <a:cubicBezTo>
                  <a:pt x="6" y="11692"/>
                  <a:pt x="11696" y="2"/>
                  <a:pt x="26117" y="2"/>
                </a:cubicBezTo>
                <a:close/>
                <a:moveTo>
                  <a:pt x="243831" y="1"/>
                </a:moveTo>
                <a:cubicBezTo>
                  <a:pt x="258252" y="1"/>
                  <a:pt x="269942" y="11691"/>
                  <a:pt x="269942" y="26112"/>
                </a:cubicBezTo>
                <a:cubicBezTo>
                  <a:pt x="269942" y="40534"/>
                  <a:pt x="258252" y="52224"/>
                  <a:pt x="243831" y="52224"/>
                </a:cubicBezTo>
                <a:cubicBezTo>
                  <a:pt x="229410" y="52224"/>
                  <a:pt x="217720" y="40534"/>
                  <a:pt x="217720" y="26112"/>
                </a:cubicBezTo>
                <a:cubicBezTo>
                  <a:pt x="217720" y="11691"/>
                  <a:pt x="229410" y="1"/>
                  <a:pt x="243831" y="1"/>
                </a:cubicBezTo>
                <a:close/>
                <a:moveTo>
                  <a:pt x="461545" y="1"/>
                </a:moveTo>
                <a:cubicBezTo>
                  <a:pt x="475966" y="1"/>
                  <a:pt x="487656" y="11691"/>
                  <a:pt x="487656" y="26112"/>
                </a:cubicBezTo>
                <a:cubicBezTo>
                  <a:pt x="487656" y="40534"/>
                  <a:pt x="475966" y="52224"/>
                  <a:pt x="461545" y="52224"/>
                </a:cubicBezTo>
                <a:cubicBezTo>
                  <a:pt x="447124" y="52224"/>
                  <a:pt x="435434" y="40534"/>
                  <a:pt x="435434" y="26112"/>
                </a:cubicBezTo>
                <a:cubicBezTo>
                  <a:pt x="435434" y="11691"/>
                  <a:pt x="447124" y="1"/>
                  <a:pt x="461545" y="1"/>
                </a:cubicBezTo>
                <a:close/>
                <a:moveTo>
                  <a:pt x="679259" y="1"/>
                </a:moveTo>
                <a:cubicBezTo>
                  <a:pt x="693680" y="1"/>
                  <a:pt x="705370" y="11691"/>
                  <a:pt x="705370" y="26112"/>
                </a:cubicBezTo>
                <a:cubicBezTo>
                  <a:pt x="705370" y="40533"/>
                  <a:pt x="693680" y="52223"/>
                  <a:pt x="679259" y="52223"/>
                </a:cubicBezTo>
                <a:cubicBezTo>
                  <a:pt x="664838" y="52223"/>
                  <a:pt x="653148" y="40533"/>
                  <a:pt x="653148" y="26112"/>
                </a:cubicBezTo>
                <a:cubicBezTo>
                  <a:pt x="653148" y="11691"/>
                  <a:pt x="664838" y="1"/>
                  <a:pt x="679259" y="1"/>
                </a:cubicBezTo>
                <a:close/>
                <a:moveTo>
                  <a:pt x="896974" y="1"/>
                </a:moveTo>
                <a:cubicBezTo>
                  <a:pt x="911395" y="1"/>
                  <a:pt x="923085" y="11691"/>
                  <a:pt x="923085" y="26112"/>
                </a:cubicBezTo>
                <a:cubicBezTo>
                  <a:pt x="923085" y="40533"/>
                  <a:pt x="911395" y="52223"/>
                  <a:pt x="896974" y="52223"/>
                </a:cubicBezTo>
                <a:cubicBezTo>
                  <a:pt x="882553" y="52223"/>
                  <a:pt x="870863" y="40533"/>
                  <a:pt x="870863" y="26112"/>
                </a:cubicBezTo>
                <a:cubicBezTo>
                  <a:pt x="870863" y="11691"/>
                  <a:pt x="882553" y="1"/>
                  <a:pt x="896974" y="1"/>
                </a:cubicBezTo>
                <a:close/>
                <a:moveTo>
                  <a:pt x="1114688" y="1"/>
                </a:moveTo>
                <a:cubicBezTo>
                  <a:pt x="1129109" y="1"/>
                  <a:pt x="1140799" y="11691"/>
                  <a:pt x="1140799" y="26112"/>
                </a:cubicBezTo>
                <a:cubicBezTo>
                  <a:pt x="1140799" y="40533"/>
                  <a:pt x="1129109" y="52223"/>
                  <a:pt x="1114688" y="52223"/>
                </a:cubicBezTo>
                <a:cubicBezTo>
                  <a:pt x="1100267" y="52223"/>
                  <a:pt x="1088577" y="40533"/>
                  <a:pt x="1088577" y="26112"/>
                </a:cubicBezTo>
                <a:cubicBezTo>
                  <a:pt x="1088577" y="11691"/>
                  <a:pt x="1100267" y="1"/>
                  <a:pt x="1114688" y="1"/>
                </a:cubicBezTo>
                <a:close/>
                <a:moveTo>
                  <a:pt x="1332401" y="0"/>
                </a:moveTo>
                <a:cubicBezTo>
                  <a:pt x="1346822" y="0"/>
                  <a:pt x="1358512" y="11690"/>
                  <a:pt x="1358512" y="26111"/>
                </a:cubicBezTo>
                <a:cubicBezTo>
                  <a:pt x="1358512" y="40533"/>
                  <a:pt x="1346822" y="52223"/>
                  <a:pt x="1332401" y="52223"/>
                </a:cubicBezTo>
                <a:cubicBezTo>
                  <a:pt x="1317980" y="52223"/>
                  <a:pt x="1306290" y="40533"/>
                  <a:pt x="1306290" y="26111"/>
                </a:cubicBezTo>
                <a:cubicBezTo>
                  <a:pt x="1306290" y="11690"/>
                  <a:pt x="1317980" y="0"/>
                  <a:pt x="1332401" y="0"/>
                </a:cubicBezTo>
                <a:close/>
                <a:moveTo>
                  <a:pt x="1550115" y="0"/>
                </a:moveTo>
                <a:cubicBezTo>
                  <a:pt x="1564536" y="0"/>
                  <a:pt x="1576226" y="11690"/>
                  <a:pt x="1576226" y="26111"/>
                </a:cubicBezTo>
                <a:cubicBezTo>
                  <a:pt x="1576226" y="40532"/>
                  <a:pt x="1564536" y="52222"/>
                  <a:pt x="1550115" y="52222"/>
                </a:cubicBezTo>
                <a:cubicBezTo>
                  <a:pt x="1535694" y="52222"/>
                  <a:pt x="1524004" y="40532"/>
                  <a:pt x="1524004" y="26111"/>
                </a:cubicBezTo>
                <a:cubicBezTo>
                  <a:pt x="1524004" y="11690"/>
                  <a:pt x="1535694" y="0"/>
                  <a:pt x="1550115" y="0"/>
                </a:cubicBezTo>
                <a:close/>
              </a:path>
            </a:pathLst>
          </a:custGeom>
          <a:solidFill>
            <a:schemeClr val="accent4">
              <a:alpha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id-ID" dirty="0"/>
          </a:p>
        </p:txBody>
      </p:sp>
      <p:pic>
        <p:nvPicPr>
          <p:cNvPr id="10" name="Picture 9"/>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1" y="0"/>
            <a:ext cx="2862944" cy="1839686"/>
          </a:xfrm>
          <a:prstGeom prst="rect">
            <a:avLst/>
          </a:prstGeom>
          <a:noFill/>
          <a:ln>
            <a:noFill/>
          </a:ln>
        </p:spPr>
      </p:pic>
      <p:pic>
        <p:nvPicPr>
          <p:cNvPr id="11" name="Picture 10"/>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9329053" y="-1"/>
            <a:ext cx="2862944" cy="1883230"/>
          </a:xfrm>
          <a:prstGeom prst="rect">
            <a:avLst/>
          </a:prstGeom>
          <a:noFill/>
          <a:ln>
            <a:noFill/>
          </a:ln>
        </p:spPr>
      </p:pic>
      <p:pic>
        <p:nvPicPr>
          <p:cNvPr id="12" name="Picture 11" descr="C:\Users\HP\Desktop\Tourism.jpg"/>
          <p:cNvPicPr/>
          <p:nvPr/>
        </p:nvPicPr>
        <p:blipFill>
          <a:blip r:embed="rId8">
            <a:extLst>
              <a:ext uri="{28A0092B-C50C-407E-A947-70E740481C1C}">
                <a14:useLocalDpi xmlns:a14="http://schemas.microsoft.com/office/drawing/2010/main" val="0"/>
              </a:ext>
            </a:extLst>
          </a:blip>
          <a:srcRect/>
          <a:stretch>
            <a:fillRect/>
          </a:stretch>
        </p:blipFill>
        <p:spPr bwMode="auto">
          <a:xfrm>
            <a:off x="-32658" y="1839686"/>
            <a:ext cx="12191997" cy="5018313"/>
          </a:xfrm>
          <a:prstGeom prst="rect">
            <a:avLst/>
          </a:prstGeom>
          <a:noFill/>
          <a:ln>
            <a:noFill/>
          </a:ln>
        </p:spPr>
      </p:pic>
      <p:graphicFrame>
        <p:nvGraphicFramePr>
          <p:cNvPr id="5" name="Table 4"/>
          <p:cNvGraphicFramePr>
            <a:graphicFrameLocks noGrp="1"/>
          </p:cNvGraphicFramePr>
          <p:nvPr>
            <p:extLst>
              <p:ext uri="{D42A27DB-BD31-4B8C-83A1-F6EECF244321}">
                <p14:modId xmlns:p14="http://schemas.microsoft.com/office/powerpoint/2010/main" val="165548234"/>
              </p:ext>
            </p:extLst>
          </p:nvPr>
        </p:nvGraphicFramePr>
        <p:xfrm>
          <a:off x="7645550" y="5715000"/>
          <a:ext cx="4394050" cy="1005840"/>
        </p:xfrm>
        <a:graphic>
          <a:graphicData uri="http://schemas.openxmlformats.org/drawingml/2006/table">
            <a:tbl>
              <a:tblPr firstRow="1" bandRow="1">
                <a:tableStyleId>{5C22544A-7EE6-4342-B048-85BDC9FD1C3A}</a:tableStyleId>
              </a:tblPr>
              <a:tblGrid>
                <a:gridCol w="4394050">
                  <a:extLst>
                    <a:ext uri="{9D8B030D-6E8A-4147-A177-3AD203B41FA5}">
                      <a16:colId xmlns:a16="http://schemas.microsoft.com/office/drawing/2014/main" val="20000"/>
                    </a:ext>
                  </a:extLst>
                </a:gridCol>
              </a:tblGrid>
              <a:tr h="886097">
                <a:tc>
                  <a:txBody>
                    <a:bodyPr/>
                    <a:lstStyle/>
                    <a:p>
                      <a:r>
                        <a:rPr lang="en-US" sz="6000" dirty="0">
                          <a:latin typeface="Roboto Condensed"/>
                        </a:rPr>
                        <a:t>Thank you</a:t>
                      </a:r>
                    </a:p>
                  </a:txBody>
                  <a:tcPr>
                    <a:solidFill>
                      <a:srgbClr val="FDD425"/>
                    </a:solidFill>
                  </a:tcPr>
                </a:tc>
                <a:extLst>
                  <a:ext uri="{0D108BD9-81ED-4DB2-BD59-A6C34878D82A}">
                    <a16:rowId xmlns:a16="http://schemas.microsoft.com/office/drawing/2014/main" val="10000"/>
                  </a:ext>
                </a:extLst>
              </a:tr>
            </a:tbl>
          </a:graphicData>
        </a:graphic>
      </p:graphicFrame>
    </p:spTree>
    <p:extLst>
      <p:ext uri="{BB962C8B-B14F-4D97-AF65-F5344CB8AC3E}">
        <p14:creationId xmlns:p14="http://schemas.microsoft.com/office/powerpoint/2010/main" val="53268442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p:nvPr/>
        </p:nvPicPr>
        <p:blipFill>
          <a:blip r:embed="rId2">
            <a:extLst>
              <a:ext uri="{28A0092B-C50C-407E-A947-70E740481C1C}">
                <a14:useLocalDpi xmlns:a14="http://schemas.microsoft.com/office/drawing/2010/main" val="0"/>
              </a:ext>
            </a:extLst>
          </a:blip>
          <a:srcRect/>
          <a:stretch>
            <a:fillRect/>
          </a:stretch>
        </p:blipFill>
        <p:spPr bwMode="auto">
          <a:xfrm>
            <a:off x="264694" y="1106906"/>
            <a:ext cx="11670631" cy="5414210"/>
          </a:xfrm>
          <a:prstGeom prst="rect">
            <a:avLst/>
          </a:prstGeom>
          <a:noFill/>
          <a:ln>
            <a:noFill/>
          </a:ln>
        </p:spPr>
      </p:pic>
      <p:sp>
        <p:nvSpPr>
          <p:cNvPr id="4" name="Title 3"/>
          <p:cNvSpPr>
            <a:spLocks noGrp="1"/>
          </p:cNvSpPr>
          <p:nvPr>
            <p:ph type="title"/>
          </p:nvPr>
        </p:nvSpPr>
        <p:spPr>
          <a:xfrm>
            <a:off x="685800" y="168442"/>
            <a:ext cx="10668000" cy="625642"/>
          </a:xfrm>
          <a:solidFill>
            <a:srgbClr val="00B050"/>
          </a:solidFill>
        </p:spPr>
        <p:txBody>
          <a:bodyPr>
            <a:normAutofit fontScale="90000"/>
          </a:bodyPr>
          <a:lstStyle/>
          <a:p>
            <a:pPr algn="ctr"/>
            <a:r>
              <a:rPr lang="en-US" dirty="0"/>
              <a:t>Zambia and its Neighbors</a:t>
            </a:r>
          </a:p>
        </p:txBody>
      </p:sp>
      <p:sp>
        <p:nvSpPr>
          <p:cNvPr id="5" name="Content Placeholder 4"/>
          <p:cNvSpPr>
            <a:spLocks noGrp="1"/>
          </p:cNvSpPr>
          <p:nvPr>
            <p:ph idx="1"/>
          </p:nvPr>
        </p:nvSpPr>
        <p:spPr>
          <a:xfrm>
            <a:off x="264693" y="1010654"/>
            <a:ext cx="11670631" cy="5510462"/>
          </a:xfrm>
        </p:spPr>
        <p:txBody>
          <a:bodyPr/>
          <a:lstStyle/>
          <a:p>
            <a:endParaRPr lang="en-US" dirty="0"/>
          </a:p>
        </p:txBody>
      </p:sp>
    </p:spTree>
    <p:extLst>
      <p:ext uri="{BB962C8B-B14F-4D97-AF65-F5344CB8AC3E}">
        <p14:creationId xmlns:p14="http://schemas.microsoft.com/office/powerpoint/2010/main" val="225718440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4" name="Picture Placeholder 23" descr="A picture containing waterfall, outdoor, water resources, water&#10;&#10;Description automatically generated">
            <a:extLst>
              <a:ext uri="{FF2B5EF4-FFF2-40B4-BE49-F238E27FC236}">
                <a16:creationId xmlns:a16="http://schemas.microsoft.com/office/drawing/2014/main" id="{69467C19-4D37-6DB7-0532-F380E47BE1AE}"/>
              </a:ext>
            </a:extLst>
          </p:cNvPr>
          <p:cNvPicPr>
            <a:picLocks noGrp="1" noChangeAspect="1"/>
          </p:cNvPicPr>
          <p:nvPr>
            <p:ph type="pic" sz="quarter" idx="16"/>
          </p:nvPr>
        </p:nvPicPr>
        <p:blipFill rotWithShape="1">
          <a:blip r:embed="rId3">
            <a:alphaModFix amt="50000"/>
            <a:extLst>
              <a:ext uri="{28A0092B-C50C-407E-A947-70E740481C1C}">
                <a14:useLocalDpi xmlns:a14="http://schemas.microsoft.com/office/drawing/2010/main" val="0"/>
              </a:ext>
            </a:extLst>
          </a:blip>
          <a:srcRect t="10780" b="5228"/>
          <a:stretch/>
        </p:blipFill>
        <p:spPr>
          <a:xfrm>
            <a:off x="-74645" y="0"/>
            <a:ext cx="12266645" cy="6858000"/>
          </a:xfrm>
        </p:spPr>
      </p:pic>
      <p:sp>
        <p:nvSpPr>
          <p:cNvPr id="18" name="Rectangle: Rounded Corners 17">
            <a:extLst>
              <a:ext uri="{FF2B5EF4-FFF2-40B4-BE49-F238E27FC236}">
                <a16:creationId xmlns:a16="http://schemas.microsoft.com/office/drawing/2014/main" id="{62087244-4FE5-4A22-BDC3-761AAA99592F}"/>
              </a:ext>
            </a:extLst>
          </p:cNvPr>
          <p:cNvSpPr/>
          <p:nvPr/>
        </p:nvSpPr>
        <p:spPr>
          <a:xfrm>
            <a:off x="-74645" y="-1"/>
            <a:ext cx="13583816" cy="8999549"/>
          </a:xfrm>
          <a:custGeom>
            <a:avLst/>
            <a:gdLst>
              <a:gd name="connsiteX0" fmla="*/ 0 w 11506200"/>
              <a:gd name="connsiteY0" fmla="*/ 0 h 6858000"/>
              <a:gd name="connsiteX1" fmla="*/ 0 w 11506200"/>
              <a:gd name="connsiteY1" fmla="*/ 0 h 6858000"/>
              <a:gd name="connsiteX2" fmla="*/ 11506200 w 11506200"/>
              <a:gd name="connsiteY2" fmla="*/ 0 h 6858000"/>
              <a:gd name="connsiteX3" fmla="*/ 11506200 w 11506200"/>
              <a:gd name="connsiteY3" fmla="*/ 0 h 6858000"/>
              <a:gd name="connsiteX4" fmla="*/ 11506200 w 11506200"/>
              <a:gd name="connsiteY4" fmla="*/ 6858000 h 6858000"/>
              <a:gd name="connsiteX5" fmla="*/ 11506200 w 11506200"/>
              <a:gd name="connsiteY5" fmla="*/ 6858000 h 6858000"/>
              <a:gd name="connsiteX6" fmla="*/ 0 w 11506200"/>
              <a:gd name="connsiteY6" fmla="*/ 6858000 h 6858000"/>
              <a:gd name="connsiteX7" fmla="*/ 0 w 11506200"/>
              <a:gd name="connsiteY7" fmla="*/ 6858000 h 6858000"/>
              <a:gd name="connsiteX8" fmla="*/ 0 w 11506200"/>
              <a:gd name="connsiteY8" fmla="*/ 0 h 6858000"/>
              <a:gd name="connsiteX0" fmla="*/ 408 w 11506608"/>
              <a:gd name="connsiteY0" fmla="*/ 0 h 6858000"/>
              <a:gd name="connsiteX1" fmla="*/ 408 w 11506608"/>
              <a:gd name="connsiteY1" fmla="*/ 0 h 6858000"/>
              <a:gd name="connsiteX2" fmla="*/ 11506608 w 11506608"/>
              <a:gd name="connsiteY2" fmla="*/ 0 h 6858000"/>
              <a:gd name="connsiteX3" fmla="*/ 11506608 w 11506608"/>
              <a:gd name="connsiteY3" fmla="*/ 0 h 6858000"/>
              <a:gd name="connsiteX4" fmla="*/ 11506608 w 11506608"/>
              <a:gd name="connsiteY4" fmla="*/ 6858000 h 6858000"/>
              <a:gd name="connsiteX5" fmla="*/ 11506608 w 11506608"/>
              <a:gd name="connsiteY5" fmla="*/ 6858000 h 6858000"/>
              <a:gd name="connsiteX6" fmla="*/ 408 w 11506608"/>
              <a:gd name="connsiteY6" fmla="*/ 6858000 h 6858000"/>
              <a:gd name="connsiteX7" fmla="*/ 408 w 11506608"/>
              <a:gd name="connsiteY7" fmla="*/ 6858000 h 6858000"/>
              <a:gd name="connsiteX8" fmla="*/ 57557 w 11506608"/>
              <a:gd name="connsiteY8" fmla="*/ 2505075 h 6858000"/>
              <a:gd name="connsiteX9" fmla="*/ 408 w 11506608"/>
              <a:gd name="connsiteY9" fmla="*/ 0 h 6858000"/>
              <a:gd name="connsiteX0" fmla="*/ 0 w 11506200"/>
              <a:gd name="connsiteY0" fmla="*/ 0 h 6858000"/>
              <a:gd name="connsiteX1" fmla="*/ 0 w 11506200"/>
              <a:gd name="connsiteY1" fmla="*/ 0 h 6858000"/>
              <a:gd name="connsiteX2" fmla="*/ 11506200 w 11506200"/>
              <a:gd name="connsiteY2" fmla="*/ 0 h 6858000"/>
              <a:gd name="connsiteX3" fmla="*/ 11506200 w 11506200"/>
              <a:gd name="connsiteY3" fmla="*/ 0 h 6858000"/>
              <a:gd name="connsiteX4" fmla="*/ 11506200 w 11506200"/>
              <a:gd name="connsiteY4" fmla="*/ 6858000 h 6858000"/>
              <a:gd name="connsiteX5" fmla="*/ 11506200 w 11506200"/>
              <a:gd name="connsiteY5" fmla="*/ 6858000 h 6858000"/>
              <a:gd name="connsiteX6" fmla="*/ 0 w 11506200"/>
              <a:gd name="connsiteY6" fmla="*/ 6858000 h 6858000"/>
              <a:gd name="connsiteX7" fmla="*/ 0 w 11506200"/>
              <a:gd name="connsiteY7" fmla="*/ 6858000 h 6858000"/>
              <a:gd name="connsiteX8" fmla="*/ 0 w 11506200"/>
              <a:gd name="connsiteY8"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506200" h="6858000">
                <a:moveTo>
                  <a:pt x="0" y="0"/>
                </a:moveTo>
                <a:lnTo>
                  <a:pt x="0" y="0"/>
                </a:lnTo>
                <a:lnTo>
                  <a:pt x="11506200" y="0"/>
                </a:lnTo>
                <a:lnTo>
                  <a:pt x="11506200" y="0"/>
                </a:lnTo>
                <a:lnTo>
                  <a:pt x="11506200" y="6858000"/>
                </a:lnTo>
                <a:lnTo>
                  <a:pt x="11506200" y="6858000"/>
                </a:lnTo>
                <a:lnTo>
                  <a:pt x="0" y="6858000"/>
                </a:lnTo>
                <a:lnTo>
                  <a:pt x="0" y="6858000"/>
                </a:lnTo>
                <a:lnTo>
                  <a:pt x="0" y="0"/>
                </a:lnTo>
                <a:close/>
              </a:path>
            </a:pathLst>
          </a:custGeom>
          <a:solidFill>
            <a:schemeClr val="bg1">
              <a:alpha val="88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dirty="0"/>
          </a:p>
        </p:txBody>
      </p:sp>
      <p:sp>
        <p:nvSpPr>
          <p:cNvPr id="6" name="TextBox 5">
            <a:extLst>
              <a:ext uri="{FF2B5EF4-FFF2-40B4-BE49-F238E27FC236}">
                <a16:creationId xmlns:a16="http://schemas.microsoft.com/office/drawing/2014/main" id="{4BE5CD3F-4B3B-41F6-8B5F-E40BBFBD31F6}"/>
              </a:ext>
            </a:extLst>
          </p:cNvPr>
          <p:cNvSpPr txBox="1"/>
          <p:nvPr/>
        </p:nvSpPr>
        <p:spPr>
          <a:xfrm>
            <a:off x="2854560" y="144040"/>
            <a:ext cx="2512226" cy="369332"/>
          </a:xfrm>
          <a:prstGeom prst="rect">
            <a:avLst/>
          </a:prstGeom>
          <a:noFill/>
        </p:spPr>
        <p:txBody>
          <a:bodyPr wrap="none" rtlCol="0">
            <a:spAutoFit/>
          </a:bodyPr>
          <a:lstStyle/>
          <a:p>
            <a:r>
              <a:rPr lang="en-US" spc="300" dirty="0">
                <a:latin typeface="Roboto Condensed Medium" panose="020B0604020202020204" pitchFamily="2" charset="0"/>
                <a:ea typeface="Roboto Condensed Medium" panose="020B0604020202020204" pitchFamily="2" charset="0"/>
              </a:rPr>
              <a:t>ZAMBIA IN BRIEF</a:t>
            </a:r>
            <a:endParaRPr lang="en-ID" spc="300" dirty="0">
              <a:latin typeface="Roboto Condensed Medium" panose="020B0604020202020204" pitchFamily="2" charset="0"/>
              <a:ea typeface="Roboto Condensed Medium" panose="020B0604020202020204" pitchFamily="2" charset="0"/>
            </a:endParaRPr>
          </a:p>
        </p:txBody>
      </p:sp>
      <p:sp>
        <p:nvSpPr>
          <p:cNvPr id="8" name="TextBox 7">
            <a:extLst>
              <a:ext uri="{FF2B5EF4-FFF2-40B4-BE49-F238E27FC236}">
                <a16:creationId xmlns:a16="http://schemas.microsoft.com/office/drawing/2014/main" id="{7B873E81-E27A-4219-B7D2-1AAEE52197AA}"/>
              </a:ext>
            </a:extLst>
          </p:cNvPr>
          <p:cNvSpPr txBox="1"/>
          <p:nvPr/>
        </p:nvSpPr>
        <p:spPr>
          <a:xfrm>
            <a:off x="2135639" y="2685489"/>
            <a:ext cx="4461104" cy="923330"/>
          </a:xfrm>
          <a:prstGeom prst="rect">
            <a:avLst/>
          </a:prstGeom>
          <a:noFill/>
        </p:spPr>
        <p:txBody>
          <a:bodyPr wrap="square" rtlCol="0">
            <a:spAutoFit/>
          </a:bodyPr>
          <a:lstStyle/>
          <a:p>
            <a:r>
              <a:rPr lang="en-US" dirty="0">
                <a:latin typeface="Roboto Condensed" pitchFamily="2" charset="0"/>
                <a:ea typeface="Roboto Condensed" pitchFamily="2" charset="0"/>
              </a:rPr>
              <a:t>Zambia is a </a:t>
            </a:r>
            <a:r>
              <a:rPr lang="en-US" b="1" dirty="0">
                <a:latin typeface="Roboto Condensed" pitchFamily="2" charset="0"/>
                <a:ea typeface="Roboto Condensed" pitchFamily="2" charset="0"/>
              </a:rPr>
              <a:t>land-linked</a:t>
            </a:r>
            <a:r>
              <a:rPr lang="en-US" dirty="0">
                <a:latin typeface="Roboto Condensed" pitchFamily="2" charset="0"/>
                <a:ea typeface="Roboto Condensed" pitchFamily="2" charset="0"/>
              </a:rPr>
              <a:t> country </a:t>
            </a:r>
          </a:p>
          <a:p>
            <a:r>
              <a:rPr lang="en-US" dirty="0">
                <a:latin typeface="Roboto Condensed" pitchFamily="2" charset="0"/>
                <a:ea typeface="Roboto Condensed" pitchFamily="2" charset="0"/>
              </a:rPr>
              <a:t>situated at the Centre of southern African Sub-region</a:t>
            </a:r>
            <a:endParaRPr lang="en-GB" dirty="0">
              <a:latin typeface="Roboto Condensed" pitchFamily="2" charset="0"/>
              <a:ea typeface="Roboto Condensed" pitchFamily="2" charset="0"/>
            </a:endParaRPr>
          </a:p>
        </p:txBody>
      </p:sp>
      <p:sp>
        <p:nvSpPr>
          <p:cNvPr id="50" name="TextBox 49">
            <a:extLst>
              <a:ext uri="{FF2B5EF4-FFF2-40B4-BE49-F238E27FC236}">
                <a16:creationId xmlns:a16="http://schemas.microsoft.com/office/drawing/2014/main" id="{53AA6A20-363C-4303-A3B4-263B6CBCE777}"/>
              </a:ext>
            </a:extLst>
          </p:cNvPr>
          <p:cNvSpPr txBox="1"/>
          <p:nvPr/>
        </p:nvSpPr>
        <p:spPr>
          <a:xfrm>
            <a:off x="2798343" y="479281"/>
            <a:ext cx="3460108" cy="584775"/>
          </a:xfrm>
          <a:prstGeom prst="rect">
            <a:avLst/>
          </a:prstGeom>
          <a:noFill/>
        </p:spPr>
        <p:txBody>
          <a:bodyPr wrap="square" rtlCol="0">
            <a:spAutoFit/>
          </a:bodyPr>
          <a:lstStyle/>
          <a:p>
            <a:r>
              <a:rPr lang="en-GB" sz="3200" b="1" dirty="0">
                <a:latin typeface="Roboto Condensed" pitchFamily="2" charset="0"/>
                <a:ea typeface="Roboto Condensed" pitchFamily="2" charset="0"/>
              </a:rPr>
              <a:t>About Zambia</a:t>
            </a:r>
          </a:p>
        </p:txBody>
      </p:sp>
      <p:sp>
        <p:nvSpPr>
          <p:cNvPr id="43" name="Freeform: Shape 42">
            <a:extLst>
              <a:ext uri="{FF2B5EF4-FFF2-40B4-BE49-F238E27FC236}">
                <a16:creationId xmlns:a16="http://schemas.microsoft.com/office/drawing/2014/main" id="{D9ABB01B-AD24-44CF-899C-39B35E69CE84}"/>
              </a:ext>
            </a:extLst>
          </p:cNvPr>
          <p:cNvSpPr/>
          <p:nvPr/>
        </p:nvSpPr>
        <p:spPr>
          <a:xfrm>
            <a:off x="11080257" y="385"/>
            <a:ext cx="1120557" cy="1166056"/>
          </a:xfrm>
          <a:custGeom>
            <a:avLst/>
            <a:gdLst>
              <a:gd name="connsiteX0" fmla="*/ 1550109 w 1576226"/>
              <a:gd name="connsiteY0" fmla="*/ 1588006 h 1640228"/>
              <a:gd name="connsiteX1" fmla="*/ 1576220 w 1576226"/>
              <a:gd name="connsiteY1" fmla="*/ 1614117 h 1640228"/>
              <a:gd name="connsiteX2" fmla="*/ 1550109 w 1576226"/>
              <a:gd name="connsiteY2" fmla="*/ 1640228 h 1640228"/>
              <a:gd name="connsiteX3" fmla="*/ 1523998 w 1576226"/>
              <a:gd name="connsiteY3" fmla="*/ 1614117 h 1640228"/>
              <a:gd name="connsiteX4" fmla="*/ 1550109 w 1576226"/>
              <a:gd name="connsiteY4" fmla="*/ 1588006 h 1640228"/>
              <a:gd name="connsiteX5" fmla="*/ 1332395 w 1576226"/>
              <a:gd name="connsiteY5" fmla="*/ 1588006 h 1640228"/>
              <a:gd name="connsiteX6" fmla="*/ 1358506 w 1576226"/>
              <a:gd name="connsiteY6" fmla="*/ 1614117 h 1640228"/>
              <a:gd name="connsiteX7" fmla="*/ 1332395 w 1576226"/>
              <a:gd name="connsiteY7" fmla="*/ 1640228 h 1640228"/>
              <a:gd name="connsiteX8" fmla="*/ 1306284 w 1576226"/>
              <a:gd name="connsiteY8" fmla="*/ 1614117 h 1640228"/>
              <a:gd name="connsiteX9" fmla="*/ 1332395 w 1576226"/>
              <a:gd name="connsiteY9" fmla="*/ 1588006 h 1640228"/>
              <a:gd name="connsiteX10" fmla="*/ 1114682 w 1576226"/>
              <a:gd name="connsiteY10" fmla="*/ 1588006 h 1640228"/>
              <a:gd name="connsiteX11" fmla="*/ 1140793 w 1576226"/>
              <a:gd name="connsiteY11" fmla="*/ 1614117 h 1640228"/>
              <a:gd name="connsiteX12" fmla="*/ 1114682 w 1576226"/>
              <a:gd name="connsiteY12" fmla="*/ 1640228 h 1640228"/>
              <a:gd name="connsiteX13" fmla="*/ 1088571 w 1576226"/>
              <a:gd name="connsiteY13" fmla="*/ 1614117 h 1640228"/>
              <a:gd name="connsiteX14" fmla="*/ 1114682 w 1576226"/>
              <a:gd name="connsiteY14" fmla="*/ 1588006 h 1640228"/>
              <a:gd name="connsiteX15" fmla="*/ 896968 w 1576226"/>
              <a:gd name="connsiteY15" fmla="*/ 1588006 h 1640228"/>
              <a:gd name="connsiteX16" fmla="*/ 923079 w 1576226"/>
              <a:gd name="connsiteY16" fmla="*/ 1614117 h 1640228"/>
              <a:gd name="connsiteX17" fmla="*/ 896968 w 1576226"/>
              <a:gd name="connsiteY17" fmla="*/ 1640228 h 1640228"/>
              <a:gd name="connsiteX18" fmla="*/ 870857 w 1576226"/>
              <a:gd name="connsiteY18" fmla="*/ 1614117 h 1640228"/>
              <a:gd name="connsiteX19" fmla="*/ 896968 w 1576226"/>
              <a:gd name="connsiteY19" fmla="*/ 1588006 h 1640228"/>
              <a:gd name="connsiteX20" fmla="*/ 679253 w 1576226"/>
              <a:gd name="connsiteY20" fmla="*/ 1588006 h 1640228"/>
              <a:gd name="connsiteX21" fmla="*/ 705364 w 1576226"/>
              <a:gd name="connsiteY21" fmla="*/ 1614117 h 1640228"/>
              <a:gd name="connsiteX22" fmla="*/ 679253 w 1576226"/>
              <a:gd name="connsiteY22" fmla="*/ 1640228 h 1640228"/>
              <a:gd name="connsiteX23" fmla="*/ 653142 w 1576226"/>
              <a:gd name="connsiteY23" fmla="*/ 1614117 h 1640228"/>
              <a:gd name="connsiteX24" fmla="*/ 679253 w 1576226"/>
              <a:gd name="connsiteY24" fmla="*/ 1588006 h 1640228"/>
              <a:gd name="connsiteX25" fmla="*/ 461539 w 1576226"/>
              <a:gd name="connsiteY25" fmla="*/ 1588006 h 1640228"/>
              <a:gd name="connsiteX26" fmla="*/ 487650 w 1576226"/>
              <a:gd name="connsiteY26" fmla="*/ 1614117 h 1640228"/>
              <a:gd name="connsiteX27" fmla="*/ 461539 w 1576226"/>
              <a:gd name="connsiteY27" fmla="*/ 1640228 h 1640228"/>
              <a:gd name="connsiteX28" fmla="*/ 435428 w 1576226"/>
              <a:gd name="connsiteY28" fmla="*/ 1614117 h 1640228"/>
              <a:gd name="connsiteX29" fmla="*/ 461539 w 1576226"/>
              <a:gd name="connsiteY29" fmla="*/ 1588006 h 1640228"/>
              <a:gd name="connsiteX30" fmla="*/ 243825 w 1576226"/>
              <a:gd name="connsiteY30" fmla="*/ 1588006 h 1640228"/>
              <a:gd name="connsiteX31" fmla="*/ 269936 w 1576226"/>
              <a:gd name="connsiteY31" fmla="*/ 1614117 h 1640228"/>
              <a:gd name="connsiteX32" fmla="*/ 243825 w 1576226"/>
              <a:gd name="connsiteY32" fmla="*/ 1640228 h 1640228"/>
              <a:gd name="connsiteX33" fmla="*/ 217714 w 1576226"/>
              <a:gd name="connsiteY33" fmla="*/ 1614117 h 1640228"/>
              <a:gd name="connsiteX34" fmla="*/ 243825 w 1576226"/>
              <a:gd name="connsiteY34" fmla="*/ 1588006 h 1640228"/>
              <a:gd name="connsiteX35" fmla="*/ 26111 w 1576226"/>
              <a:gd name="connsiteY35" fmla="*/ 1588006 h 1640228"/>
              <a:gd name="connsiteX36" fmla="*/ 52222 w 1576226"/>
              <a:gd name="connsiteY36" fmla="*/ 1614117 h 1640228"/>
              <a:gd name="connsiteX37" fmla="*/ 26111 w 1576226"/>
              <a:gd name="connsiteY37" fmla="*/ 1640228 h 1640228"/>
              <a:gd name="connsiteX38" fmla="*/ 0 w 1576226"/>
              <a:gd name="connsiteY38" fmla="*/ 1614117 h 1640228"/>
              <a:gd name="connsiteX39" fmla="*/ 26111 w 1576226"/>
              <a:gd name="connsiteY39" fmla="*/ 1588006 h 1640228"/>
              <a:gd name="connsiteX40" fmla="*/ 1550110 w 1576226"/>
              <a:gd name="connsiteY40" fmla="*/ 1361148 h 1640228"/>
              <a:gd name="connsiteX41" fmla="*/ 1576221 w 1576226"/>
              <a:gd name="connsiteY41" fmla="*/ 1387259 h 1640228"/>
              <a:gd name="connsiteX42" fmla="*/ 1550110 w 1576226"/>
              <a:gd name="connsiteY42" fmla="*/ 1413370 h 1640228"/>
              <a:gd name="connsiteX43" fmla="*/ 1523999 w 1576226"/>
              <a:gd name="connsiteY43" fmla="*/ 1387259 h 1640228"/>
              <a:gd name="connsiteX44" fmla="*/ 1550110 w 1576226"/>
              <a:gd name="connsiteY44" fmla="*/ 1361148 h 1640228"/>
              <a:gd name="connsiteX45" fmla="*/ 1332396 w 1576226"/>
              <a:gd name="connsiteY45" fmla="*/ 1361148 h 1640228"/>
              <a:gd name="connsiteX46" fmla="*/ 1358507 w 1576226"/>
              <a:gd name="connsiteY46" fmla="*/ 1387259 h 1640228"/>
              <a:gd name="connsiteX47" fmla="*/ 1332396 w 1576226"/>
              <a:gd name="connsiteY47" fmla="*/ 1413370 h 1640228"/>
              <a:gd name="connsiteX48" fmla="*/ 1306285 w 1576226"/>
              <a:gd name="connsiteY48" fmla="*/ 1387259 h 1640228"/>
              <a:gd name="connsiteX49" fmla="*/ 1332396 w 1576226"/>
              <a:gd name="connsiteY49" fmla="*/ 1361148 h 1640228"/>
              <a:gd name="connsiteX50" fmla="*/ 1114683 w 1576226"/>
              <a:gd name="connsiteY50" fmla="*/ 1361148 h 1640228"/>
              <a:gd name="connsiteX51" fmla="*/ 1140794 w 1576226"/>
              <a:gd name="connsiteY51" fmla="*/ 1387259 h 1640228"/>
              <a:gd name="connsiteX52" fmla="*/ 1114683 w 1576226"/>
              <a:gd name="connsiteY52" fmla="*/ 1413370 h 1640228"/>
              <a:gd name="connsiteX53" fmla="*/ 1088572 w 1576226"/>
              <a:gd name="connsiteY53" fmla="*/ 1387259 h 1640228"/>
              <a:gd name="connsiteX54" fmla="*/ 1114683 w 1576226"/>
              <a:gd name="connsiteY54" fmla="*/ 1361148 h 1640228"/>
              <a:gd name="connsiteX55" fmla="*/ 896969 w 1576226"/>
              <a:gd name="connsiteY55" fmla="*/ 1361148 h 1640228"/>
              <a:gd name="connsiteX56" fmla="*/ 923080 w 1576226"/>
              <a:gd name="connsiteY56" fmla="*/ 1387259 h 1640228"/>
              <a:gd name="connsiteX57" fmla="*/ 896969 w 1576226"/>
              <a:gd name="connsiteY57" fmla="*/ 1413370 h 1640228"/>
              <a:gd name="connsiteX58" fmla="*/ 870858 w 1576226"/>
              <a:gd name="connsiteY58" fmla="*/ 1387259 h 1640228"/>
              <a:gd name="connsiteX59" fmla="*/ 896969 w 1576226"/>
              <a:gd name="connsiteY59" fmla="*/ 1361148 h 1640228"/>
              <a:gd name="connsiteX60" fmla="*/ 679254 w 1576226"/>
              <a:gd name="connsiteY60" fmla="*/ 1361148 h 1640228"/>
              <a:gd name="connsiteX61" fmla="*/ 705365 w 1576226"/>
              <a:gd name="connsiteY61" fmla="*/ 1387259 h 1640228"/>
              <a:gd name="connsiteX62" fmla="*/ 679254 w 1576226"/>
              <a:gd name="connsiteY62" fmla="*/ 1413370 h 1640228"/>
              <a:gd name="connsiteX63" fmla="*/ 653143 w 1576226"/>
              <a:gd name="connsiteY63" fmla="*/ 1387259 h 1640228"/>
              <a:gd name="connsiteX64" fmla="*/ 679254 w 1576226"/>
              <a:gd name="connsiteY64" fmla="*/ 1361148 h 1640228"/>
              <a:gd name="connsiteX65" fmla="*/ 461540 w 1576226"/>
              <a:gd name="connsiteY65" fmla="*/ 1361148 h 1640228"/>
              <a:gd name="connsiteX66" fmla="*/ 487651 w 1576226"/>
              <a:gd name="connsiteY66" fmla="*/ 1387259 h 1640228"/>
              <a:gd name="connsiteX67" fmla="*/ 461540 w 1576226"/>
              <a:gd name="connsiteY67" fmla="*/ 1413370 h 1640228"/>
              <a:gd name="connsiteX68" fmla="*/ 435429 w 1576226"/>
              <a:gd name="connsiteY68" fmla="*/ 1387259 h 1640228"/>
              <a:gd name="connsiteX69" fmla="*/ 461540 w 1576226"/>
              <a:gd name="connsiteY69" fmla="*/ 1361148 h 1640228"/>
              <a:gd name="connsiteX70" fmla="*/ 243826 w 1576226"/>
              <a:gd name="connsiteY70" fmla="*/ 1361148 h 1640228"/>
              <a:gd name="connsiteX71" fmla="*/ 269937 w 1576226"/>
              <a:gd name="connsiteY71" fmla="*/ 1387259 h 1640228"/>
              <a:gd name="connsiteX72" fmla="*/ 243826 w 1576226"/>
              <a:gd name="connsiteY72" fmla="*/ 1413370 h 1640228"/>
              <a:gd name="connsiteX73" fmla="*/ 217715 w 1576226"/>
              <a:gd name="connsiteY73" fmla="*/ 1387259 h 1640228"/>
              <a:gd name="connsiteX74" fmla="*/ 243826 w 1576226"/>
              <a:gd name="connsiteY74" fmla="*/ 1361148 h 1640228"/>
              <a:gd name="connsiteX75" fmla="*/ 26112 w 1576226"/>
              <a:gd name="connsiteY75" fmla="*/ 1361148 h 1640228"/>
              <a:gd name="connsiteX76" fmla="*/ 52223 w 1576226"/>
              <a:gd name="connsiteY76" fmla="*/ 1387259 h 1640228"/>
              <a:gd name="connsiteX77" fmla="*/ 26112 w 1576226"/>
              <a:gd name="connsiteY77" fmla="*/ 1413370 h 1640228"/>
              <a:gd name="connsiteX78" fmla="*/ 1 w 1576226"/>
              <a:gd name="connsiteY78" fmla="*/ 1387259 h 1640228"/>
              <a:gd name="connsiteX79" fmla="*/ 26112 w 1576226"/>
              <a:gd name="connsiteY79" fmla="*/ 1361148 h 1640228"/>
              <a:gd name="connsiteX80" fmla="*/ 1550111 w 1576226"/>
              <a:gd name="connsiteY80" fmla="*/ 1134290 h 1640228"/>
              <a:gd name="connsiteX81" fmla="*/ 1576222 w 1576226"/>
              <a:gd name="connsiteY81" fmla="*/ 1160401 h 1640228"/>
              <a:gd name="connsiteX82" fmla="*/ 1550111 w 1576226"/>
              <a:gd name="connsiteY82" fmla="*/ 1186512 h 1640228"/>
              <a:gd name="connsiteX83" fmla="*/ 1524000 w 1576226"/>
              <a:gd name="connsiteY83" fmla="*/ 1160401 h 1640228"/>
              <a:gd name="connsiteX84" fmla="*/ 1550111 w 1576226"/>
              <a:gd name="connsiteY84" fmla="*/ 1134290 h 1640228"/>
              <a:gd name="connsiteX85" fmla="*/ 1332397 w 1576226"/>
              <a:gd name="connsiteY85" fmla="*/ 1134290 h 1640228"/>
              <a:gd name="connsiteX86" fmla="*/ 1358508 w 1576226"/>
              <a:gd name="connsiteY86" fmla="*/ 1160401 h 1640228"/>
              <a:gd name="connsiteX87" fmla="*/ 1332397 w 1576226"/>
              <a:gd name="connsiteY87" fmla="*/ 1186512 h 1640228"/>
              <a:gd name="connsiteX88" fmla="*/ 1306286 w 1576226"/>
              <a:gd name="connsiteY88" fmla="*/ 1160401 h 1640228"/>
              <a:gd name="connsiteX89" fmla="*/ 1332397 w 1576226"/>
              <a:gd name="connsiteY89" fmla="*/ 1134290 h 1640228"/>
              <a:gd name="connsiteX90" fmla="*/ 1114684 w 1576226"/>
              <a:gd name="connsiteY90" fmla="*/ 1134290 h 1640228"/>
              <a:gd name="connsiteX91" fmla="*/ 1140795 w 1576226"/>
              <a:gd name="connsiteY91" fmla="*/ 1160401 h 1640228"/>
              <a:gd name="connsiteX92" fmla="*/ 1114684 w 1576226"/>
              <a:gd name="connsiteY92" fmla="*/ 1186512 h 1640228"/>
              <a:gd name="connsiteX93" fmla="*/ 1088573 w 1576226"/>
              <a:gd name="connsiteY93" fmla="*/ 1160401 h 1640228"/>
              <a:gd name="connsiteX94" fmla="*/ 1114684 w 1576226"/>
              <a:gd name="connsiteY94" fmla="*/ 1134290 h 1640228"/>
              <a:gd name="connsiteX95" fmla="*/ 896970 w 1576226"/>
              <a:gd name="connsiteY95" fmla="*/ 1134290 h 1640228"/>
              <a:gd name="connsiteX96" fmla="*/ 923081 w 1576226"/>
              <a:gd name="connsiteY96" fmla="*/ 1160401 h 1640228"/>
              <a:gd name="connsiteX97" fmla="*/ 896970 w 1576226"/>
              <a:gd name="connsiteY97" fmla="*/ 1186512 h 1640228"/>
              <a:gd name="connsiteX98" fmla="*/ 870859 w 1576226"/>
              <a:gd name="connsiteY98" fmla="*/ 1160401 h 1640228"/>
              <a:gd name="connsiteX99" fmla="*/ 896970 w 1576226"/>
              <a:gd name="connsiteY99" fmla="*/ 1134290 h 1640228"/>
              <a:gd name="connsiteX100" fmla="*/ 679255 w 1576226"/>
              <a:gd name="connsiteY100" fmla="*/ 1134290 h 1640228"/>
              <a:gd name="connsiteX101" fmla="*/ 705366 w 1576226"/>
              <a:gd name="connsiteY101" fmla="*/ 1160401 h 1640228"/>
              <a:gd name="connsiteX102" fmla="*/ 679255 w 1576226"/>
              <a:gd name="connsiteY102" fmla="*/ 1186512 h 1640228"/>
              <a:gd name="connsiteX103" fmla="*/ 653144 w 1576226"/>
              <a:gd name="connsiteY103" fmla="*/ 1160401 h 1640228"/>
              <a:gd name="connsiteX104" fmla="*/ 679255 w 1576226"/>
              <a:gd name="connsiteY104" fmla="*/ 1134290 h 1640228"/>
              <a:gd name="connsiteX105" fmla="*/ 461541 w 1576226"/>
              <a:gd name="connsiteY105" fmla="*/ 1134290 h 1640228"/>
              <a:gd name="connsiteX106" fmla="*/ 487652 w 1576226"/>
              <a:gd name="connsiteY106" fmla="*/ 1160401 h 1640228"/>
              <a:gd name="connsiteX107" fmla="*/ 461541 w 1576226"/>
              <a:gd name="connsiteY107" fmla="*/ 1186512 h 1640228"/>
              <a:gd name="connsiteX108" fmla="*/ 435430 w 1576226"/>
              <a:gd name="connsiteY108" fmla="*/ 1160401 h 1640228"/>
              <a:gd name="connsiteX109" fmla="*/ 461541 w 1576226"/>
              <a:gd name="connsiteY109" fmla="*/ 1134290 h 1640228"/>
              <a:gd name="connsiteX110" fmla="*/ 243827 w 1576226"/>
              <a:gd name="connsiteY110" fmla="*/ 1134290 h 1640228"/>
              <a:gd name="connsiteX111" fmla="*/ 269938 w 1576226"/>
              <a:gd name="connsiteY111" fmla="*/ 1160401 h 1640228"/>
              <a:gd name="connsiteX112" fmla="*/ 243827 w 1576226"/>
              <a:gd name="connsiteY112" fmla="*/ 1186512 h 1640228"/>
              <a:gd name="connsiteX113" fmla="*/ 217716 w 1576226"/>
              <a:gd name="connsiteY113" fmla="*/ 1160401 h 1640228"/>
              <a:gd name="connsiteX114" fmla="*/ 243827 w 1576226"/>
              <a:gd name="connsiteY114" fmla="*/ 1134290 h 1640228"/>
              <a:gd name="connsiteX115" fmla="*/ 26113 w 1576226"/>
              <a:gd name="connsiteY115" fmla="*/ 1134290 h 1640228"/>
              <a:gd name="connsiteX116" fmla="*/ 52224 w 1576226"/>
              <a:gd name="connsiteY116" fmla="*/ 1160401 h 1640228"/>
              <a:gd name="connsiteX117" fmla="*/ 26113 w 1576226"/>
              <a:gd name="connsiteY117" fmla="*/ 1186512 h 1640228"/>
              <a:gd name="connsiteX118" fmla="*/ 2 w 1576226"/>
              <a:gd name="connsiteY118" fmla="*/ 1160401 h 1640228"/>
              <a:gd name="connsiteX119" fmla="*/ 26113 w 1576226"/>
              <a:gd name="connsiteY119" fmla="*/ 1134290 h 1640228"/>
              <a:gd name="connsiteX120" fmla="*/ 1550112 w 1576226"/>
              <a:gd name="connsiteY120" fmla="*/ 907432 h 1640228"/>
              <a:gd name="connsiteX121" fmla="*/ 1576223 w 1576226"/>
              <a:gd name="connsiteY121" fmla="*/ 933543 h 1640228"/>
              <a:gd name="connsiteX122" fmla="*/ 1550112 w 1576226"/>
              <a:gd name="connsiteY122" fmla="*/ 959654 h 1640228"/>
              <a:gd name="connsiteX123" fmla="*/ 1524001 w 1576226"/>
              <a:gd name="connsiteY123" fmla="*/ 933543 h 1640228"/>
              <a:gd name="connsiteX124" fmla="*/ 1550112 w 1576226"/>
              <a:gd name="connsiteY124" fmla="*/ 907432 h 1640228"/>
              <a:gd name="connsiteX125" fmla="*/ 1332398 w 1576226"/>
              <a:gd name="connsiteY125" fmla="*/ 907432 h 1640228"/>
              <a:gd name="connsiteX126" fmla="*/ 1358509 w 1576226"/>
              <a:gd name="connsiteY126" fmla="*/ 933543 h 1640228"/>
              <a:gd name="connsiteX127" fmla="*/ 1332398 w 1576226"/>
              <a:gd name="connsiteY127" fmla="*/ 959654 h 1640228"/>
              <a:gd name="connsiteX128" fmla="*/ 1306287 w 1576226"/>
              <a:gd name="connsiteY128" fmla="*/ 933543 h 1640228"/>
              <a:gd name="connsiteX129" fmla="*/ 1332398 w 1576226"/>
              <a:gd name="connsiteY129" fmla="*/ 907432 h 1640228"/>
              <a:gd name="connsiteX130" fmla="*/ 1114685 w 1576226"/>
              <a:gd name="connsiteY130" fmla="*/ 907432 h 1640228"/>
              <a:gd name="connsiteX131" fmla="*/ 1140796 w 1576226"/>
              <a:gd name="connsiteY131" fmla="*/ 933543 h 1640228"/>
              <a:gd name="connsiteX132" fmla="*/ 1114685 w 1576226"/>
              <a:gd name="connsiteY132" fmla="*/ 959654 h 1640228"/>
              <a:gd name="connsiteX133" fmla="*/ 1088574 w 1576226"/>
              <a:gd name="connsiteY133" fmla="*/ 933543 h 1640228"/>
              <a:gd name="connsiteX134" fmla="*/ 1114685 w 1576226"/>
              <a:gd name="connsiteY134" fmla="*/ 907432 h 1640228"/>
              <a:gd name="connsiteX135" fmla="*/ 896971 w 1576226"/>
              <a:gd name="connsiteY135" fmla="*/ 907432 h 1640228"/>
              <a:gd name="connsiteX136" fmla="*/ 923082 w 1576226"/>
              <a:gd name="connsiteY136" fmla="*/ 933543 h 1640228"/>
              <a:gd name="connsiteX137" fmla="*/ 896971 w 1576226"/>
              <a:gd name="connsiteY137" fmla="*/ 959654 h 1640228"/>
              <a:gd name="connsiteX138" fmla="*/ 870860 w 1576226"/>
              <a:gd name="connsiteY138" fmla="*/ 933543 h 1640228"/>
              <a:gd name="connsiteX139" fmla="*/ 896971 w 1576226"/>
              <a:gd name="connsiteY139" fmla="*/ 907432 h 1640228"/>
              <a:gd name="connsiteX140" fmla="*/ 679256 w 1576226"/>
              <a:gd name="connsiteY140" fmla="*/ 907432 h 1640228"/>
              <a:gd name="connsiteX141" fmla="*/ 705367 w 1576226"/>
              <a:gd name="connsiteY141" fmla="*/ 933543 h 1640228"/>
              <a:gd name="connsiteX142" fmla="*/ 679256 w 1576226"/>
              <a:gd name="connsiteY142" fmla="*/ 959654 h 1640228"/>
              <a:gd name="connsiteX143" fmla="*/ 653145 w 1576226"/>
              <a:gd name="connsiteY143" fmla="*/ 933543 h 1640228"/>
              <a:gd name="connsiteX144" fmla="*/ 679256 w 1576226"/>
              <a:gd name="connsiteY144" fmla="*/ 907432 h 1640228"/>
              <a:gd name="connsiteX145" fmla="*/ 461542 w 1576226"/>
              <a:gd name="connsiteY145" fmla="*/ 907432 h 1640228"/>
              <a:gd name="connsiteX146" fmla="*/ 487653 w 1576226"/>
              <a:gd name="connsiteY146" fmla="*/ 933543 h 1640228"/>
              <a:gd name="connsiteX147" fmla="*/ 461542 w 1576226"/>
              <a:gd name="connsiteY147" fmla="*/ 959654 h 1640228"/>
              <a:gd name="connsiteX148" fmla="*/ 435431 w 1576226"/>
              <a:gd name="connsiteY148" fmla="*/ 933543 h 1640228"/>
              <a:gd name="connsiteX149" fmla="*/ 461542 w 1576226"/>
              <a:gd name="connsiteY149" fmla="*/ 907432 h 1640228"/>
              <a:gd name="connsiteX150" fmla="*/ 243828 w 1576226"/>
              <a:gd name="connsiteY150" fmla="*/ 907432 h 1640228"/>
              <a:gd name="connsiteX151" fmla="*/ 269939 w 1576226"/>
              <a:gd name="connsiteY151" fmla="*/ 933543 h 1640228"/>
              <a:gd name="connsiteX152" fmla="*/ 243828 w 1576226"/>
              <a:gd name="connsiteY152" fmla="*/ 959654 h 1640228"/>
              <a:gd name="connsiteX153" fmla="*/ 217717 w 1576226"/>
              <a:gd name="connsiteY153" fmla="*/ 933543 h 1640228"/>
              <a:gd name="connsiteX154" fmla="*/ 243828 w 1576226"/>
              <a:gd name="connsiteY154" fmla="*/ 907432 h 1640228"/>
              <a:gd name="connsiteX155" fmla="*/ 26114 w 1576226"/>
              <a:gd name="connsiteY155" fmla="*/ 907432 h 1640228"/>
              <a:gd name="connsiteX156" fmla="*/ 52225 w 1576226"/>
              <a:gd name="connsiteY156" fmla="*/ 933543 h 1640228"/>
              <a:gd name="connsiteX157" fmla="*/ 26114 w 1576226"/>
              <a:gd name="connsiteY157" fmla="*/ 959654 h 1640228"/>
              <a:gd name="connsiteX158" fmla="*/ 3 w 1576226"/>
              <a:gd name="connsiteY158" fmla="*/ 933543 h 1640228"/>
              <a:gd name="connsiteX159" fmla="*/ 26114 w 1576226"/>
              <a:gd name="connsiteY159" fmla="*/ 907432 h 1640228"/>
              <a:gd name="connsiteX160" fmla="*/ 1550113 w 1576226"/>
              <a:gd name="connsiteY160" fmla="*/ 680574 h 1640228"/>
              <a:gd name="connsiteX161" fmla="*/ 1576224 w 1576226"/>
              <a:gd name="connsiteY161" fmla="*/ 706685 h 1640228"/>
              <a:gd name="connsiteX162" fmla="*/ 1550113 w 1576226"/>
              <a:gd name="connsiteY162" fmla="*/ 732796 h 1640228"/>
              <a:gd name="connsiteX163" fmla="*/ 1524002 w 1576226"/>
              <a:gd name="connsiteY163" fmla="*/ 706685 h 1640228"/>
              <a:gd name="connsiteX164" fmla="*/ 1550113 w 1576226"/>
              <a:gd name="connsiteY164" fmla="*/ 680574 h 1640228"/>
              <a:gd name="connsiteX165" fmla="*/ 1332399 w 1576226"/>
              <a:gd name="connsiteY165" fmla="*/ 680574 h 1640228"/>
              <a:gd name="connsiteX166" fmla="*/ 1358510 w 1576226"/>
              <a:gd name="connsiteY166" fmla="*/ 706685 h 1640228"/>
              <a:gd name="connsiteX167" fmla="*/ 1332399 w 1576226"/>
              <a:gd name="connsiteY167" fmla="*/ 732796 h 1640228"/>
              <a:gd name="connsiteX168" fmla="*/ 1306288 w 1576226"/>
              <a:gd name="connsiteY168" fmla="*/ 706685 h 1640228"/>
              <a:gd name="connsiteX169" fmla="*/ 1332399 w 1576226"/>
              <a:gd name="connsiteY169" fmla="*/ 680574 h 1640228"/>
              <a:gd name="connsiteX170" fmla="*/ 1114686 w 1576226"/>
              <a:gd name="connsiteY170" fmla="*/ 680574 h 1640228"/>
              <a:gd name="connsiteX171" fmla="*/ 1140797 w 1576226"/>
              <a:gd name="connsiteY171" fmla="*/ 706685 h 1640228"/>
              <a:gd name="connsiteX172" fmla="*/ 1114686 w 1576226"/>
              <a:gd name="connsiteY172" fmla="*/ 732796 h 1640228"/>
              <a:gd name="connsiteX173" fmla="*/ 1088575 w 1576226"/>
              <a:gd name="connsiteY173" fmla="*/ 706685 h 1640228"/>
              <a:gd name="connsiteX174" fmla="*/ 1114686 w 1576226"/>
              <a:gd name="connsiteY174" fmla="*/ 680574 h 1640228"/>
              <a:gd name="connsiteX175" fmla="*/ 896972 w 1576226"/>
              <a:gd name="connsiteY175" fmla="*/ 680574 h 1640228"/>
              <a:gd name="connsiteX176" fmla="*/ 923083 w 1576226"/>
              <a:gd name="connsiteY176" fmla="*/ 706685 h 1640228"/>
              <a:gd name="connsiteX177" fmla="*/ 896972 w 1576226"/>
              <a:gd name="connsiteY177" fmla="*/ 732796 h 1640228"/>
              <a:gd name="connsiteX178" fmla="*/ 870861 w 1576226"/>
              <a:gd name="connsiteY178" fmla="*/ 706685 h 1640228"/>
              <a:gd name="connsiteX179" fmla="*/ 896972 w 1576226"/>
              <a:gd name="connsiteY179" fmla="*/ 680574 h 1640228"/>
              <a:gd name="connsiteX180" fmla="*/ 679257 w 1576226"/>
              <a:gd name="connsiteY180" fmla="*/ 680574 h 1640228"/>
              <a:gd name="connsiteX181" fmla="*/ 705368 w 1576226"/>
              <a:gd name="connsiteY181" fmla="*/ 706685 h 1640228"/>
              <a:gd name="connsiteX182" fmla="*/ 679257 w 1576226"/>
              <a:gd name="connsiteY182" fmla="*/ 732796 h 1640228"/>
              <a:gd name="connsiteX183" fmla="*/ 653146 w 1576226"/>
              <a:gd name="connsiteY183" fmla="*/ 706685 h 1640228"/>
              <a:gd name="connsiteX184" fmla="*/ 679257 w 1576226"/>
              <a:gd name="connsiteY184" fmla="*/ 680574 h 1640228"/>
              <a:gd name="connsiteX185" fmla="*/ 461543 w 1576226"/>
              <a:gd name="connsiteY185" fmla="*/ 680574 h 1640228"/>
              <a:gd name="connsiteX186" fmla="*/ 487654 w 1576226"/>
              <a:gd name="connsiteY186" fmla="*/ 706685 h 1640228"/>
              <a:gd name="connsiteX187" fmla="*/ 461543 w 1576226"/>
              <a:gd name="connsiteY187" fmla="*/ 732796 h 1640228"/>
              <a:gd name="connsiteX188" fmla="*/ 435432 w 1576226"/>
              <a:gd name="connsiteY188" fmla="*/ 706685 h 1640228"/>
              <a:gd name="connsiteX189" fmla="*/ 461543 w 1576226"/>
              <a:gd name="connsiteY189" fmla="*/ 680574 h 1640228"/>
              <a:gd name="connsiteX190" fmla="*/ 243829 w 1576226"/>
              <a:gd name="connsiteY190" fmla="*/ 680574 h 1640228"/>
              <a:gd name="connsiteX191" fmla="*/ 269940 w 1576226"/>
              <a:gd name="connsiteY191" fmla="*/ 706685 h 1640228"/>
              <a:gd name="connsiteX192" fmla="*/ 243829 w 1576226"/>
              <a:gd name="connsiteY192" fmla="*/ 732796 h 1640228"/>
              <a:gd name="connsiteX193" fmla="*/ 217718 w 1576226"/>
              <a:gd name="connsiteY193" fmla="*/ 706685 h 1640228"/>
              <a:gd name="connsiteX194" fmla="*/ 243829 w 1576226"/>
              <a:gd name="connsiteY194" fmla="*/ 680574 h 1640228"/>
              <a:gd name="connsiteX195" fmla="*/ 26115 w 1576226"/>
              <a:gd name="connsiteY195" fmla="*/ 680574 h 1640228"/>
              <a:gd name="connsiteX196" fmla="*/ 52226 w 1576226"/>
              <a:gd name="connsiteY196" fmla="*/ 706685 h 1640228"/>
              <a:gd name="connsiteX197" fmla="*/ 26115 w 1576226"/>
              <a:gd name="connsiteY197" fmla="*/ 732796 h 1640228"/>
              <a:gd name="connsiteX198" fmla="*/ 4 w 1576226"/>
              <a:gd name="connsiteY198" fmla="*/ 706685 h 1640228"/>
              <a:gd name="connsiteX199" fmla="*/ 26115 w 1576226"/>
              <a:gd name="connsiteY199" fmla="*/ 680574 h 1640228"/>
              <a:gd name="connsiteX200" fmla="*/ 26116 w 1576226"/>
              <a:gd name="connsiteY200" fmla="*/ 453717 h 1640228"/>
              <a:gd name="connsiteX201" fmla="*/ 52227 w 1576226"/>
              <a:gd name="connsiteY201" fmla="*/ 479827 h 1640228"/>
              <a:gd name="connsiteX202" fmla="*/ 26116 w 1576226"/>
              <a:gd name="connsiteY202" fmla="*/ 505939 h 1640228"/>
              <a:gd name="connsiteX203" fmla="*/ 5 w 1576226"/>
              <a:gd name="connsiteY203" fmla="*/ 479827 h 1640228"/>
              <a:gd name="connsiteX204" fmla="*/ 26116 w 1576226"/>
              <a:gd name="connsiteY204" fmla="*/ 453717 h 1640228"/>
              <a:gd name="connsiteX205" fmla="*/ 243830 w 1576226"/>
              <a:gd name="connsiteY205" fmla="*/ 453717 h 1640228"/>
              <a:gd name="connsiteX206" fmla="*/ 269941 w 1576226"/>
              <a:gd name="connsiteY206" fmla="*/ 479827 h 1640228"/>
              <a:gd name="connsiteX207" fmla="*/ 243830 w 1576226"/>
              <a:gd name="connsiteY207" fmla="*/ 505939 h 1640228"/>
              <a:gd name="connsiteX208" fmla="*/ 217719 w 1576226"/>
              <a:gd name="connsiteY208" fmla="*/ 479827 h 1640228"/>
              <a:gd name="connsiteX209" fmla="*/ 243830 w 1576226"/>
              <a:gd name="connsiteY209" fmla="*/ 453717 h 1640228"/>
              <a:gd name="connsiteX210" fmla="*/ 461544 w 1576226"/>
              <a:gd name="connsiteY210" fmla="*/ 453717 h 1640228"/>
              <a:gd name="connsiteX211" fmla="*/ 487655 w 1576226"/>
              <a:gd name="connsiteY211" fmla="*/ 479827 h 1640228"/>
              <a:gd name="connsiteX212" fmla="*/ 461544 w 1576226"/>
              <a:gd name="connsiteY212" fmla="*/ 505939 h 1640228"/>
              <a:gd name="connsiteX213" fmla="*/ 435433 w 1576226"/>
              <a:gd name="connsiteY213" fmla="*/ 479827 h 1640228"/>
              <a:gd name="connsiteX214" fmla="*/ 461544 w 1576226"/>
              <a:gd name="connsiteY214" fmla="*/ 453717 h 1640228"/>
              <a:gd name="connsiteX215" fmla="*/ 679258 w 1576226"/>
              <a:gd name="connsiteY215" fmla="*/ 453717 h 1640228"/>
              <a:gd name="connsiteX216" fmla="*/ 705369 w 1576226"/>
              <a:gd name="connsiteY216" fmla="*/ 479827 h 1640228"/>
              <a:gd name="connsiteX217" fmla="*/ 679258 w 1576226"/>
              <a:gd name="connsiteY217" fmla="*/ 505939 h 1640228"/>
              <a:gd name="connsiteX218" fmla="*/ 653147 w 1576226"/>
              <a:gd name="connsiteY218" fmla="*/ 479827 h 1640228"/>
              <a:gd name="connsiteX219" fmla="*/ 679258 w 1576226"/>
              <a:gd name="connsiteY219" fmla="*/ 453717 h 1640228"/>
              <a:gd name="connsiteX220" fmla="*/ 896973 w 1576226"/>
              <a:gd name="connsiteY220" fmla="*/ 453717 h 1640228"/>
              <a:gd name="connsiteX221" fmla="*/ 923084 w 1576226"/>
              <a:gd name="connsiteY221" fmla="*/ 479827 h 1640228"/>
              <a:gd name="connsiteX222" fmla="*/ 896973 w 1576226"/>
              <a:gd name="connsiteY222" fmla="*/ 505939 h 1640228"/>
              <a:gd name="connsiteX223" fmla="*/ 870862 w 1576226"/>
              <a:gd name="connsiteY223" fmla="*/ 479827 h 1640228"/>
              <a:gd name="connsiteX224" fmla="*/ 896973 w 1576226"/>
              <a:gd name="connsiteY224" fmla="*/ 453717 h 1640228"/>
              <a:gd name="connsiteX225" fmla="*/ 1114687 w 1576226"/>
              <a:gd name="connsiteY225" fmla="*/ 453717 h 1640228"/>
              <a:gd name="connsiteX226" fmla="*/ 1140798 w 1576226"/>
              <a:gd name="connsiteY226" fmla="*/ 479827 h 1640228"/>
              <a:gd name="connsiteX227" fmla="*/ 1114687 w 1576226"/>
              <a:gd name="connsiteY227" fmla="*/ 505938 h 1640228"/>
              <a:gd name="connsiteX228" fmla="*/ 1088576 w 1576226"/>
              <a:gd name="connsiteY228" fmla="*/ 479827 h 1640228"/>
              <a:gd name="connsiteX229" fmla="*/ 1114687 w 1576226"/>
              <a:gd name="connsiteY229" fmla="*/ 453717 h 1640228"/>
              <a:gd name="connsiteX230" fmla="*/ 1332400 w 1576226"/>
              <a:gd name="connsiteY230" fmla="*/ 453716 h 1640228"/>
              <a:gd name="connsiteX231" fmla="*/ 1358511 w 1576226"/>
              <a:gd name="connsiteY231" fmla="*/ 479827 h 1640228"/>
              <a:gd name="connsiteX232" fmla="*/ 1332400 w 1576226"/>
              <a:gd name="connsiteY232" fmla="*/ 505938 h 1640228"/>
              <a:gd name="connsiteX233" fmla="*/ 1306289 w 1576226"/>
              <a:gd name="connsiteY233" fmla="*/ 479827 h 1640228"/>
              <a:gd name="connsiteX234" fmla="*/ 1332400 w 1576226"/>
              <a:gd name="connsiteY234" fmla="*/ 453716 h 1640228"/>
              <a:gd name="connsiteX235" fmla="*/ 1550114 w 1576226"/>
              <a:gd name="connsiteY235" fmla="*/ 453716 h 1640228"/>
              <a:gd name="connsiteX236" fmla="*/ 1576225 w 1576226"/>
              <a:gd name="connsiteY236" fmla="*/ 479827 h 1640228"/>
              <a:gd name="connsiteX237" fmla="*/ 1550114 w 1576226"/>
              <a:gd name="connsiteY237" fmla="*/ 505938 h 1640228"/>
              <a:gd name="connsiteX238" fmla="*/ 1524003 w 1576226"/>
              <a:gd name="connsiteY238" fmla="*/ 479827 h 1640228"/>
              <a:gd name="connsiteX239" fmla="*/ 1550114 w 1576226"/>
              <a:gd name="connsiteY239" fmla="*/ 453716 h 1640228"/>
              <a:gd name="connsiteX240" fmla="*/ 1114688 w 1576226"/>
              <a:gd name="connsiteY240" fmla="*/ 226858 h 1640228"/>
              <a:gd name="connsiteX241" fmla="*/ 1140799 w 1576226"/>
              <a:gd name="connsiteY241" fmla="*/ 252969 h 1640228"/>
              <a:gd name="connsiteX242" fmla="*/ 1114688 w 1576226"/>
              <a:gd name="connsiteY242" fmla="*/ 279080 h 1640228"/>
              <a:gd name="connsiteX243" fmla="*/ 1088577 w 1576226"/>
              <a:gd name="connsiteY243" fmla="*/ 252969 h 1640228"/>
              <a:gd name="connsiteX244" fmla="*/ 1114688 w 1576226"/>
              <a:gd name="connsiteY244" fmla="*/ 226858 h 1640228"/>
              <a:gd name="connsiteX245" fmla="*/ 896974 w 1576226"/>
              <a:gd name="connsiteY245" fmla="*/ 226858 h 1640228"/>
              <a:gd name="connsiteX246" fmla="*/ 923085 w 1576226"/>
              <a:gd name="connsiteY246" fmla="*/ 252969 h 1640228"/>
              <a:gd name="connsiteX247" fmla="*/ 896974 w 1576226"/>
              <a:gd name="connsiteY247" fmla="*/ 279080 h 1640228"/>
              <a:gd name="connsiteX248" fmla="*/ 870863 w 1576226"/>
              <a:gd name="connsiteY248" fmla="*/ 252969 h 1640228"/>
              <a:gd name="connsiteX249" fmla="*/ 896974 w 1576226"/>
              <a:gd name="connsiteY249" fmla="*/ 226858 h 1640228"/>
              <a:gd name="connsiteX250" fmla="*/ 679259 w 1576226"/>
              <a:gd name="connsiteY250" fmla="*/ 226858 h 1640228"/>
              <a:gd name="connsiteX251" fmla="*/ 705370 w 1576226"/>
              <a:gd name="connsiteY251" fmla="*/ 252970 h 1640228"/>
              <a:gd name="connsiteX252" fmla="*/ 679259 w 1576226"/>
              <a:gd name="connsiteY252" fmla="*/ 279080 h 1640228"/>
              <a:gd name="connsiteX253" fmla="*/ 653148 w 1576226"/>
              <a:gd name="connsiteY253" fmla="*/ 252970 h 1640228"/>
              <a:gd name="connsiteX254" fmla="*/ 679259 w 1576226"/>
              <a:gd name="connsiteY254" fmla="*/ 226858 h 1640228"/>
              <a:gd name="connsiteX255" fmla="*/ 461545 w 1576226"/>
              <a:gd name="connsiteY255" fmla="*/ 226858 h 1640228"/>
              <a:gd name="connsiteX256" fmla="*/ 487656 w 1576226"/>
              <a:gd name="connsiteY256" fmla="*/ 252970 h 1640228"/>
              <a:gd name="connsiteX257" fmla="*/ 461545 w 1576226"/>
              <a:gd name="connsiteY257" fmla="*/ 279081 h 1640228"/>
              <a:gd name="connsiteX258" fmla="*/ 435434 w 1576226"/>
              <a:gd name="connsiteY258" fmla="*/ 252970 h 1640228"/>
              <a:gd name="connsiteX259" fmla="*/ 461545 w 1576226"/>
              <a:gd name="connsiteY259" fmla="*/ 226858 h 1640228"/>
              <a:gd name="connsiteX260" fmla="*/ 243831 w 1576226"/>
              <a:gd name="connsiteY260" fmla="*/ 226858 h 1640228"/>
              <a:gd name="connsiteX261" fmla="*/ 269942 w 1576226"/>
              <a:gd name="connsiteY261" fmla="*/ 252970 h 1640228"/>
              <a:gd name="connsiteX262" fmla="*/ 243831 w 1576226"/>
              <a:gd name="connsiteY262" fmla="*/ 279081 h 1640228"/>
              <a:gd name="connsiteX263" fmla="*/ 217720 w 1576226"/>
              <a:gd name="connsiteY263" fmla="*/ 252970 h 1640228"/>
              <a:gd name="connsiteX264" fmla="*/ 243831 w 1576226"/>
              <a:gd name="connsiteY264" fmla="*/ 226858 h 1640228"/>
              <a:gd name="connsiteX265" fmla="*/ 26117 w 1576226"/>
              <a:gd name="connsiteY265" fmla="*/ 226858 h 1640228"/>
              <a:gd name="connsiteX266" fmla="*/ 52228 w 1576226"/>
              <a:gd name="connsiteY266" fmla="*/ 252970 h 1640228"/>
              <a:gd name="connsiteX267" fmla="*/ 26117 w 1576226"/>
              <a:gd name="connsiteY267" fmla="*/ 279081 h 1640228"/>
              <a:gd name="connsiteX268" fmla="*/ 6 w 1576226"/>
              <a:gd name="connsiteY268" fmla="*/ 252970 h 1640228"/>
              <a:gd name="connsiteX269" fmla="*/ 26117 w 1576226"/>
              <a:gd name="connsiteY269" fmla="*/ 226858 h 1640228"/>
              <a:gd name="connsiteX270" fmla="*/ 1332401 w 1576226"/>
              <a:gd name="connsiteY270" fmla="*/ 226858 h 1640228"/>
              <a:gd name="connsiteX271" fmla="*/ 1358512 w 1576226"/>
              <a:gd name="connsiteY271" fmla="*/ 252969 h 1640228"/>
              <a:gd name="connsiteX272" fmla="*/ 1332401 w 1576226"/>
              <a:gd name="connsiteY272" fmla="*/ 279080 h 1640228"/>
              <a:gd name="connsiteX273" fmla="*/ 1306290 w 1576226"/>
              <a:gd name="connsiteY273" fmla="*/ 252969 h 1640228"/>
              <a:gd name="connsiteX274" fmla="*/ 1332401 w 1576226"/>
              <a:gd name="connsiteY274" fmla="*/ 226858 h 1640228"/>
              <a:gd name="connsiteX275" fmla="*/ 1550115 w 1576226"/>
              <a:gd name="connsiteY275" fmla="*/ 226858 h 1640228"/>
              <a:gd name="connsiteX276" fmla="*/ 1576226 w 1576226"/>
              <a:gd name="connsiteY276" fmla="*/ 252969 h 1640228"/>
              <a:gd name="connsiteX277" fmla="*/ 1550115 w 1576226"/>
              <a:gd name="connsiteY277" fmla="*/ 279080 h 1640228"/>
              <a:gd name="connsiteX278" fmla="*/ 1524004 w 1576226"/>
              <a:gd name="connsiteY278" fmla="*/ 252969 h 1640228"/>
              <a:gd name="connsiteX279" fmla="*/ 1550115 w 1576226"/>
              <a:gd name="connsiteY279" fmla="*/ 226858 h 1640228"/>
              <a:gd name="connsiteX280" fmla="*/ 26117 w 1576226"/>
              <a:gd name="connsiteY280" fmla="*/ 2 h 1640228"/>
              <a:gd name="connsiteX281" fmla="*/ 52228 w 1576226"/>
              <a:gd name="connsiteY281" fmla="*/ 26113 h 1640228"/>
              <a:gd name="connsiteX282" fmla="*/ 26117 w 1576226"/>
              <a:gd name="connsiteY282" fmla="*/ 52224 h 1640228"/>
              <a:gd name="connsiteX283" fmla="*/ 6 w 1576226"/>
              <a:gd name="connsiteY283" fmla="*/ 26113 h 1640228"/>
              <a:gd name="connsiteX284" fmla="*/ 26117 w 1576226"/>
              <a:gd name="connsiteY284" fmla="*/ 2 h 1640228"/>
              <a:gd name="connsiteX285" fmla="*/ 243831 w 1576226"/>
              <a:gd name="connsiteY285" fmla="*/ 1 h 1640228"/>
              <a:gd name="connsiteX286" fmla="*/ 269942 w 1576226"/>
              <a:gd name="connsiteY286" fmla="*/ 26112 h 1640228"/>
              <a:gd name="connsiteX287" fmla="*/ 243831 w 1576226"/>
              <a:gd name="connsiteY287" fmla="*/ 52224 h 1640228"/>
              <a:gd name="connsiteX288" fmla="*/ 217720 w 1576226"/>
              <a:gd name="connsiteY288" fmla="*/ 26112 h 1640228"/>
              <a:gd name="connsiteX289" fmla="*/ 243831 w 1576226"/>
              <a:gd name="connsiteY289" fmla="*/ 1 h 1640228"/>
              <a:gd name="connsiteX290" fmla="*/ 461545 w 1576226"/>
              <a:gd name="connsiteY290" fmla="*/ 1 h 1640228"/>
              <a:gd name="connsiteX291" fmla="*/ 487656 w 1576226"/>
              <a:gd name="connsiteY291" fmla="*/ 26112 h 1640228"/>
              <a:gd name="connsiteX292" fmla="*/ 461545 w 1576226"/>
              <a:gd name="connsiteY292" fmla="*/ 52224 h 1640228"/>
              <a:gd name="connsiteX293" fmla="*/ 435434 w 1576226"/>
              <a:gd name="connsiteY293" fmla="*/ 26112 h 1640228"/>
              <a:gd name="connsiteX294" fmla="*/ 461545 w 1576226"/>
              <a:gd name="connsiteY294" fmla="*/ 1 h 1640228"/>
              <a:gd name="connsiteX295" fmla="*/ 679259 w 1576226"/>
              <a:gd name="connsiteY295" fmla="*/ 1 h 1640228"/>
              <a:gd name="connsiteX296" fmla="*/ 705370 w 1576226"/>
              <a:gd name="connsiteY296" fmla="*/ 26112 h 1640228"/>
              <a:gd name="connsiteX297" fmla="*/ 679259 w 1576226"/>
              <a:gd name="connsiteY297" fmla="*/ 52223 h 1640228"/>
              <a:gd name="connsiteX298" fmla="*/ 653148 w 1576226"/>
              <a:gd name="connsiteY298" fmla="*/ 26112 h 1640228"/>
              <a:gd name="connsiteX299" fmla="*/ 679259 w 1576226"/>
              <a:gd name="connsiteY299" fmla="*/ 1 h 1640228"/>
              <a:gd name="connsiteX300" fmla="*/ 896974 w 1576226"/>
              <a:gd name="connsiteY300" fmla="*/ 1 h 1640228"/>
              <a:gd name="connsiteX301" fmla="*/ 923085 w 1576226"/>
              <a:gd name="connsiteY301" fmla="*/ 26112 h 1640228"/>
              <a:gd name="connsiteX302" fmla="*/ 896974 w 1576226"/>
              <a:gd name="connsiteY302" fmla="*/ 52223 h 1640228"/>
              <a:gd name="connsiteX303" fmla="*/ 870863 w 1576226"/>
              <a:gd name="connsiteY303" fmla="*/ 26112 h 1640228"/>
              <a:gd name="connsiteX304" fmla="*/ 896974 w 1576226"/>
              <a:gd name="connsiteY304" fmla="*/ 1 h 1640228"/>
              <a:gd name="connsiteX305" fmla="*/ 1114688 w 1576226"/>
              <a:gd name="connsiteY305" fmla="*/ 1 h 1640228"/>
              <a:gd name="connsiteX306" fmla="*/ 1140799 w 1576226"/>
              <a:gd name="connsiteY306" fmla="*/ 26112 h 1640228"/>
              <a:gd name="connsiteX307" fmla="*/ 1114688 w 1576226"/>
              <a:gd name="connsiteY307" fmla="*/ 52223 h 1640228"/>
              <a:gd name="connsiteX308" fmla="*/ 1088577 w 1576226"/>
              <a:gd name="connsiteY308" fmla="*/ 26112 h 1640228"/>
              <a:gd name="connsiteX309" fmla="*/ 1114688 w 1576226"/>
              <a:gd name="connsiteY309" fmla="*/ 1 h 1640228"/>
              <a:gd name="connsiteX310" fmla="*/ 1332401 w 1576226"/>
              <a:gd name="connsiteY310" fmla="*/ 0 h 1640228"/>
              <a:gd name="connsiteX311" fmla="*/ 1358512 w 1576226"/>
              <a:gd name="connsiteY311" fmla="*/ 26111 h 1640228"/>
              <a:gd name="connsiteX312" fmla="*/ 1332401 w 1576226"/>
              <a:gd name="connsiteY312" fmla="*/ 52223 h 1640228"/>
              <a:gd name="connsiteX313" fmla="*/ 1306290 w 1576226"/>
              <a:gd name="connsiteY313" fmla="*/ 26111 h 1640228"/>
              <a:gd name="connsiteX314" fmla="*/ 1332401 w 1576226"/>
              <a:gd name="connsiteY314" fmla="*/ 0 h 1640228"/>
              <a:gd name="connsiteX315" fmla="*/ 1550115 w 1576226"/>
              <a:gd name="connsiteY315" fmla="*/ 0 h 1640228"/>
              <a:gd name="connsiteX316" fmla="*/ 1576226 w 1576226"/>
              <a:gd name="connsiteY316" fmla="*/ 26111 h 1640228"/>
              <a:gd name="connsiteX317" fmla="*/ 1550115 w 1576226"/>
              <a:gd name="connsiteY317" fmla="*/ 52222 h 1640228"/>
              <a:gd name="connsiteX318" fmla="*/ 1524004 w 1576226"/>
              <a:gd name="connsiteY318" fmla="*/ 26111 h 1640228"/>
              <a:gd name="connsiteX319" fmla="*/ 1550115 w 1576226"/>
              <a:gd name="connsiteY319" fmla="*/ 0 h 16402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Lst>
            <a:rect l="l" t="t" r="r" b="b"/>
            <a:pathLst>
              <a:path w="1576226" h="1640228">
                <a:moveTo>
                  <a:pt x="1550109" y="1588006"/>
                </a:moveTo>
                <a:cubicBezTo>
                  <a:pt x="1564530" y="1588006"/>
                  <a:pt x="1576220" y="1599696"/>
                  <a:pt x="1576220" y="1614117"/>
                </a:cubicBezTo>
                <a:cubicBezTo>
                  <a:pt x="1576220" y="1628538"/>
                  <a:pt x="1564530" y="1640228"/>
                  <a:pt x="1550109" y="1640228"/>
                </a:cubicBezTo>
                <a:cubicBezTo>
                  <a:pt x="1535688" y="1640228"/>
                  <a:pt x="1523998" y="1628538"/>
                  <a:pt x="1523998" y="1614117"/>
                </a:cubicBezTo>
                <a:cubicBezTo>
                  <a:pt x="1523998" y="1599696"/>
                  <a:pt x="1535688" y="1588006"/>
                  <a:pt x="1550109" y="1588006"/>
                </a:cubicBezTo>
                <a:close/>
                <a:moveTo>
                  <a:pt x="1332395" y="1588006"/>
                </a:moveTo>
                <a:cubicBezTo>
                  <a:pt x="1346816" y="1588006"/>
                  <a:pt x="1358506" y="1599696"/>
                  <a:pt x="1358506" y="1614117"/>
                </a:cubicBezTo>
                <a:cubicBezTo>
                  <a:pt x="1358506" y="1628538"/>
                  <a:pt x="1346816" y="1640228"/>
                  <a:pt x="1332395" y="1640228"/>
                </a:cubicBezTo>
                <a:cubicBezTo>
                  <a:pt x="1317974" y="1640228"/>
                  <a:pt x="1306284" y="1628538"/>
                  <a:pt x="1306284" y="1614117"/>
                </a:cubicBezTo>
                <a:cubicBezTo>
                  <a:pt x="1306284" y="1599696"/>
                  <a:pt x="1317974" y="1588006"/>
                  <a:pt x="1332395" y="1588006"/>
                </a:cubicBezTo>
                <a:close/>
                <a:moveTo>
                  <a:pt x="1114682" y="1588006"/>
                </a:moveTo>
                <a:cubicBezTo>
                  <a:pt x="1129103" y="1588006"/>
                  <a:pt x="1140793" y="1599696"/>
                  <a:pt x="1140793" y="1614117"/>
                </a:cubicBezTo>
                <a:cubicBezTo>
                  <a:pt x="1140793" y="1628538"/>
                  <a:pt x="1129103" y="1640228"/>
                  <a:pt x="1114682" y="1640228"/>
                </a:cubicBezTo>
                <a:cubicBezTo>
                  <a:pt x="1100261" y="1640228"/>
                  <a:pt x="1088571" y="1628538"/>
                  <a:pt x="1088571" y="1614117"/>
                </a:cubicBezTo>
                <a:cubicBezTo>
                  <a:pt x="1088571" y="1599696"/>
                  <a:pt x="1100261" y="1588006"/>
                  <a:pt x="1114682" y="1588006"/>
                </a:cubicBezTo>
                <a:close/>
                <a:moveTo>
                  <a:pt x="896968" y="1588006"/>
                </a:moveTo>
                <a:cubicBezTo>
                  <a:pt x="911389" y="1588006"/>
                  <a:pt x="923079" y="1599696"/>
                  <a:pt x="923079" y="1614117"/>
                </a:cubicBezTo>
                <a:cubicBezTo>
                  <a:pt x="923079" y="1628538"/>
                  <a:pt x="911389" y="1640228"/>
                  <a:pt x="896968" y="1640228"/>
                </a:cubicBezTo>
                <a:cubicBezTo>
                  <a:pt x="882547" y="1640228"/>
                  <a:pt x="870857" y="1628538"/>
                  <a:pt x="870857" y="1614117"/>
                </a:cubicBezTo>
                <a:cubicBezTo>
                  <a:pt x="870857" y="1599696"/>
                  <a:pt x="882547" y="1588006"/>
                  <a:pt x="896968" y="1588006"/>
                </a:cubicBezTo>
                <a:close/>
                <a:moveTo>
                  <a:pt x="679253" y="1588006"/>
                </a:moveTo>
                <a:cubicBezTo>
                  <a:pt x="693674" y="1588006"/>
                  <a:pt x="705364" y="1599696"/>
                  <a:pt x="705364" y="1614117"/>
                </a:cubicBezTo>
                <a:cubicBezTo>
                  <a:pt x="705364" y="1628538"/>
                  <a:pt x="693674" y="1640228"/>
                  <a:pt x="679253" y="1640228"/>
                </a:cubicBezTo>
                <a:cubicBezTo>
                  <a:pt x="664832" y="1640228"/>
                  <a:pt x="653142" y="1628538"/>
                  <a:pt x="653142" y="1614117"/>
                </a:cubicBezTo>
                <a:cubicBezTo>
                  <a:pt x="653142" y="1599696"/>
                  <a:pt x="664832" y="1588006"/>
                  <a:pt x="679253" y="1588006"/>
                </a:cubicBezTo>
                <a:close/>
                <a:moveTo>
                  <a:pt x="461539" y="1588006"/>
                </a:moveTo>
                <a:cubicBezTo>
                  <a:pt x="475960" y="1588006"/>
                  <a:pt x="487650" y="1599696"/>
                  <a:pt x="487650" y="1614117"/>
                </a:cubicBezTo>
                <a:cubicBezTo>
                  <a:pt x="487650" y="1628538"/>
                  <a:pt x="475960" y="1640228"/>
                  <a:pt x="461539" y="1640228"/>
                </a:cubicBezTo>
                <a:cubicBezTo>
                  <a:pt x="447118" y="1640228"/>
                  <a:pt x="435428" y="1628538"/>
                  <a:pt x="435428" y="1614117"/>
                </a:cubicBezTo>
                <a:cubicBezTo>
                  <a:pt x="435428" y="1599696"/>
                  <a:pt x="447118" y="1588006"/>
                  <a:pt x="461539" y="1588006"/>
                </a:cubicBezTo>
                <a:close/>
                <a:moveTo>
                  <a:pt x="243825" y="1588006"/>
                </a:moveTo>
                <a:cubicBezTo>
                  <a:pt x="258246" y="1588006"/>
                  <a:pt x="269936" y="1599696"/>
                  <a:pt x="269936" y="1614117"/>
                </a:cubicBezTo>
                <a:cubicBezTo>
                  <a:pt x="269936" y="1628538"/>
                  <a:pt x="258246" y="1640228"/>
                  <a:pt x="243825" y="1640228"/>
                </a:cubicBezTo>
                <a:cubicBezTo>
                  <a:pt x="229404" y="1640228"/>
                  <a:pt x="217714" y="1628538"/>
                  <a:pt x="217714" y="1614117"/>
                </a:cubicBezTo>
                <a:cubicBezTo>
                  <a:pt x="217714" y="1599696"/>
                  <a:pt x="229404" y="1588006"/>
                  <a:pt x="243825" y="1588006"/>
                </a:cubicBezTo>
                <a:close/>
                <a:moveTo>
                  <a:pt x="26111" y="1588006"/>
                </a:moveTo>
                <a:cubicBezTo>
                  <a:pt x="40532" y="1588006"/>
                  <a:pt x="52222" y="1599696"/>
                  <a:pt x="52222" y="1614117"/>
                </a:cubicBezTo>
                <a:cubicBezTo>
                  <a:pt x="52222" y="1628538"/>
                  <a:pt x="40532" y="1640228"/>
                  <a:pt x="26111" y="1640228"/>
                </a:cubicBezTo>
                <a:cubicBezTo>
                  <a:pt x="11690" y="1640228"/>
                  <a:pt x="0" y="1628538"/>
                  <a:pt x="0" y="1614117"/>
                </a:cubicBezTo>
                <a:cubicBezTo>
                  <a:pt x="0" y="1599696"/>
                  <a:pt x="11690" y="1588006"/>
                  <a:pt x="26111" y="1588006"/>
                </a:cubicBezTo>
                <a:close/>
                <a:moveTo>
                  <a:pt x="1550110" y="1361148"/>
                </a:moveTo>
                <a:cubicBezTo>
                  <a:pt x="1564531" y="1361148"/>
                  <a:pt x="1576221" y="1372838"/>
                  <a:pt x="1576221" y="1387259"/>
                </a:cubicBezTo>
                <a:cubicBezTo>
                  <a:pt x="1576221" y="1401680"/>
                  <a:pt x="1564531" y="1413370"/>
                  <a:pt x="1550110" y="1413370"/>
                </a:cubicBezTo>
                <a:cubicBezTo>
                  <a:pt x="1535689" y="1413370"/>
                  <a:pt x="1523999" y="1401680"/>
                  <a:pt x="1523999" y="1387259"/>
                </a:cubicBezTo>
                <a:cubicBezTo>
                  <a:pt x="1523999" y="1372838"/>
                  <a:pt x="1535689" y="1361148"/>
                  <a:pt x="1550110" y="1361148"/>
                </a:cubicBezTo>
                <a:close/>
                <a:moveTo>
                  <a:pt x="1332396" y="1361148"/>
                </a:moveTo>
                <a:cubicBezTo>
                  <a:pt x="1346817" y="1361148"/>
                  <a:pt x="1358507" y="1372838"/>
                  <a:pt x="1358507" y="1387259"/>
                </a:cubicBezTo>
                <a:cubicBezTo>
                  <a:pt x="1358507" y="1401680"/>
                  <a:pt x="1346817" y="1413370"/>
                  <a:pt x="1332396" y="1413370"/>
                </a:cubicBezTo>
                <a:cubicBezTo>
                  <a:pt x="1317975" y="1413370"/>
                  <a:pt x="1306285" y="1401680"/>
                  <a:pt x="1306285" y="1387259"/>
                </a:cubicBezTo>
                <a:cubicBezTo>
                  <a:pt x="1306285" y="1372838"/>
                  <a:pt x="1317975" y="1361148"/>
                  <a:pt x="1332396" y="1361148"/>
                </a:cubicBezTo>
                <a:close/>
                <a:moveTo>
                  <a:pt x="1114683" y="1361148"/>
                </a:moveTo>
                <a:cubicBezTo>
                  <a:pt x="1129104" y="1361148"/>
                  <a:pt x="1140794" y="1372838"/>
                  <a:pt x="1140794" y="1387259"/>
                </a:cubicBezTo>
                <a:cubicBezTo>
                  <a:pt x="1140794" y="1401680"/>
                  <a:pt x="1129104" y="1413370"/>
                  <a:pt x="1114683" y="1413370"/>
                </a:cubicBezTo>
                <a:cubicBezTo>
                  <a:pt x="1100262" y="1413370"/>
                  <a:pt x="1088572" y="1401680"/>
                  <a:pt x="1088572" y="1387259"/>
                </a:cubicBezTo>
                <a:cubicBezTo>
                  <a:pt x="1088572" y="1372838"/>
                  <a:pt x="1100262" y="1361148"/>
                  <a:pt x="1114683" y="1361148"/>
                </a:cubicBezTo>
                <a:close/>
                <a:moveTo>
                  <a:pt x="896969" y="1361148"/>
                </a:moveTo>
                <a:cubicBezTo>
                  <a:pt x="911390" y="1361148"/>
                  <a:pt x="923080" y="1372838"/>
                  <a:pt x="923080" y="1387259"/>
                </a:cubicBezTo>
                <a:cubicBezTo>
                  <a:pt x="923080" y="1401680"/>
                  <a:pt x="911390" y="1413370"/>
                  <a:pt x="896969" y="1413370"/>
                </a:cubicBezTo>
                <a:cubicBezTo>
                  <a:pt x="882548" y="1413370"/>
                  <a:pt x="870858" y="1401680"/>
                  <a:pt x="870858" y="1387259"/>
                </a:cubicBezTo>
                <a:cubicBezTo>
                  <a:pt x="870858" y="1372838"/>
                  <a:pt x="882548" y="1361148"/>
                  <a:pt x="896969" y="1361148"/>
                </a:cubicBezTo>
                <a:close/>
                <a:moveTo>
                  <a:pt x="679254" y="1361148"/>
                </a:moveTo>
                <a:cubicBezTo>
                  <a:pt x="693675" y="1361148"/>
                  <a:pt x="705365" y="1372838"/>
                  <a:pt x="705365" y="1387259"/>
                </a:cubicBezTo>
                <a:cubicBezTo>
                  <a:pt x="705365" y="1401680"/>
                  <a:pt x="693675" y="1413370"/>
                  <a:pt x="679254" y="1413370"/>
                </a:cubicBezTo>
                <a:cubicBezTo>
                  <a:pt x="664833" y="1413370"/>
                  <a:pt x="653143" y="1401680"/>
                  <a:pt x="653143" y="1387259"/>
                </a:cubicBezTo>
                <a:cubicBezTo>
                  <a:pt x="653143" y="1372838"/>
                  <a:pt x="664833" y="1361148"/>
                  <a:pt x="679254" y="1361148"/>
                </a:cubicBezTo>
                <a:close/>
                <a:moveTo>
                  <a:pt x="461540" y="1361148"/>
                </a:moveTo>
                <a:cubicBezTo>
                  <a:pt x="475961" y="1361148"/>
                  <a:pt x="487651" y="1372838"/>
                  <a:pt x="487651" y="1387259"/>
                </a:cubicBezTo>
                <a:cubicBezTo>
                  <a:pt x="487651" y="1401680"/>
                  <a:pt x="475961" y="1413370"/>
                  <a:pt x="461540" y="1413370"/>
                </a:cubicBezTo>
                <a:cubicBezTo>
                  <a:pt x="447119" y="1413370"/>
                  <a:pt x="435429" y="1401680"/>
                  <a:pt x="435429" y="1387259"/>
                </a:cubicBezTo>
                <a:cubicBezTo>
                  <a:pt x="435429" y="1372838"/>
                  <a:pt x="447119" y="1361148"/>
                  <a:pt x="461540" y="1361148"/>
                </a:cubicBezTo>
                <a:close/>
                <a:moveTo>
                  <a:pt x="243826" y="1361148"/>
                </a:moveTo>
                <a:cubicBezTo>
                  <a:pt x="258247" y="1361148"/>
                  <a:pt x="269937" y="1372838"/>
                  <a:pt x="269937" y="1387259"/>
                </a:cubicBezTo>
                <a:cubicBezTo>
                  <a:pt x="269937" y="1401680"/>
                  <a:pt x="258247" y="1413370"/>
                  <a:pt x="243826" y="1413370"/>
                </a:cubicBezTo>
                <a:cubicBezTo>
                  <a:pt x="229405" y="1413370"/>
                  <a:pt x="217715" y="1401680"/>
                  <a:pt x="217715" y="1387259"/>
                </a:cubicBezTo>
                <a:cubicBezTo>
                  <a:pt x="217715" y="1372838"/>
                  <a:pt x="229405" y="1361148"/>
                  <a:pt x="243826" y="1361148"/>
                </a:cubicBezTo>
                <a:close/>
                <a:moveTo>
                  <a:pt x="26112" y="1361148"/>
                </a:moveTo>
                <a:cubicBezTo>
                  <a:pt x="40533" y="1361148"/>
                  <a:pt x="52223" y="1372838"/>
                  <a:pt x="52223" y="1387259"/>
                </a:cubicBezTo>
                <a:cubicBezTo>
                  <a:pt x="52223" y="1401680"/>
                  <a:pt x="40533" y="1413370"/>
                  <a:pt x="26112" y="1413370"/>
                </a:cubicBezTo>
                <a:cubicBezTo>
                  <a:pt x="11691" y="1413370"/>
                  <a:pt x="1" y="1401680"/>
                  <a:pt x="1" y="1387259"/>
                </a:cubicBezTo>
                <a:cubicBezTo>
                  <a:pt x="1" y="1372838"/>
                  <a:pt x="11691" y="1361148"/>
                  <a:pt x="26112" y="1361148"/>
                </a:cubicBezTo>
                <a:close/>
                <a:moveTo>
                  <a:pt x="1550111" y="1134290"/>
                </a:moveTo>
                <a:cubicBezTo>
                  <a:pt x="1564532" y="1134290"/>
                  <a:pt x="1576222" y="1145980"/>
                  <a:pt x="1576222" y="1160401"/>
                </a:cubicBezTo>
                <a:cubicBezTo>
                  <a:pt x="1576222" y="1174822"/>
                  <a:pt x="1564532" y="1186512"/>
                  <a:pt x="1550111" y="1186512"/>
                </a:cubicBezTo>
                <a:cubicBezTo>
                  <a:pt x="1535690" y="1186512"/>
                  <a:pt x="1524000" y="1174822"/>
                  <a:pt x="1524000" y="1160401"/>
                </a:cubicBezTo>
                <a:cubicBezTo>
                  <a:pt x="1524000" y="1145980"/>
                  <a:pt x="1535690" y="1134290"/>
                  <a:pt x="1550111" y="1134290"/>
                </a:cubicBezTo>
                <a:close/>
                <a:moveTo>
                  <a:pt x="1332397" y="1134290"/>
                </a:moveTo>
                <a:cubicBezTo>
                  <a:pt x="1346818" y="1134290"/>
                  <a:pt x="1358508" y="1145980"/>
                  <a:pt x="1358508" y="1160401"/>
                </a:cubicBezTo>
                <a:cubicBezTo>
                  <a:pt x="1358508" y="1174822"/>
                  <a:pt x="1346818" y="1186512"/>
                  <a:pt x="1332397" y="1186512"/>
                </a:cubicBezTo>
                <a:cubicBezTo>
                  <a:pt x="1317976" y="1186512"/>
                  <a:pt x="1306286" y="1174822"/>
                  <a:pt x="1306286" y="1160401"/>
                </a:cubicBezTo>
                <a:cubicBezTo>
                  <a:pt x="1306286" y="1145980"/>
                  <a:pt x="1317976" y="1134290"/>
                  <a:pt x="1332397" y="1134290"/>
                </a:cubicBezTo>
                <a:close/>
                <a:moveTo>
                  <a:pt x="1114684" y="1134290"/>
                </a:moveTo>
                <a:cubicBezTo>
                  <a:pt x="1129105" y="1134290"/>
                  <a:pt x="1140795" y="1145980"/>
                  <a:pt x="1140795" y="1160401"/>
                </a:cubicBezTo>
                <a:cubicBezTo>
                  <a:pt x="1140795" y="1174822"/>
                  <a:pt x="1129105" y="1186512"/>
                  <a:pt x="1114684" y="1186512"/>
                </a:cubicBezTo>
                <a:cubicBezTo>
                  <a:pt x="1100263" y="1186512"/>
                  <a:pt x="1088573" y="1174822"/>
                  <a:pt x="1088573" y="1160401"/>
                </a:cubicBezTo>
                <a:cubicBezTo>
                  <a:pt x="1088573" y="1145980"/>
                  <a:pt x="1100263" y="1134290"/>
                  <a:pt x="1114684" y="1134290"/>
                </a:cubicBezTo>
                <a:close/>
                <a:moveTo>
                  <a:pt x="896970" y="1134290"/>
                </a:moveTo>
                <a:cubicBezTo>
                  <a:pt x="911391" y="1134290"/>
                  <a:pt x="923081" y="1145980"/>
                  <a:pt x="923081" y="1160401"/>
                </a:cubicBezTo>
                <a:cubicBezTo>
                  <a:pt x="923081" y="1174822"/>
                  <a:pt x="911391" y="1186512"/>
                  <a:pt x="896970" y="1186512"/>
                </a:cubicBezTo>
                <a:cubicBezTo>
                  <a:pt x="882549" y="1186512"/>
                  <a:pt x="870859" y="1174822"/>
                  <a:pt x="870859" y="1160401"/>
                </a:cubicBezTo>
                <a:cubicBezTo>
                  <a:pt x="870859" y="1145980"/>
                  <a:pt x="882549" y="1134290"/>
                  <a:pt x="896970" y="1134290"/>
                </a:cubicBezTo>
                <a:close/>
                <a:moveTo>
                  <a:pt x="679255" y="1134290"/>
                </a:moveTo>
                <a:cubicBezTo>
                  <a:pt x="693676" y="1134290"/>
                  <a:pt x="705366" y="1145980"/>
                  <a:pt x="705366" y="1160401"/>
                </a:cubicBezTo>
                <a:cubicBezTo>
                  <a:pt x="705366" y="1174822"/>
                  <a:pt x="693676" y="1186512"/>
                  <a:pt x="679255" y="1186512"/>
                </a:cubicBezTo>
                <a:cubicBezTo>
                  <a:pt x="664834" y="1186512"/>
                  <a:pt x="653144" y="1174822"/>
                  <a:pt x="653144" y="1160401"/>
                </a:cubicBezTo>
                <a:cubicBezTo>
                  <a:pt x="653144" y="1145980"/>
                  <a:pt x="664834" y="1134290"/>
                  <a:pt x="679255" y="1134290"/>
                </a:cubicBezTo>
                <a:close/>
                <a:moveTo>
                  <a:pt x="461541" y="1134290"/>
                </a:moveTo>
                <a:cubicBezTo>
                  <a:pt x="475962" y="1134290"/>
                  <a:pt x="487652" y="1145980"/>
                  <a:pt x="487652" y="1160401"/>
                </a:cubicBezTo>
                <a:cubicBezTo>
                  <a:pt x="487652" y="1174822"/>
                  <a:pt x="475962" y="1186512"/>
                  <a:pt x="461541" y="1186512"/>
                </a:cubicBezTo>
                <a:cubicBezTo>
                  <a:pt x="447120" y="1186512"/>
                  <a:pt x="435430" y="1174822"/>
                  <a:pt x="435430" y="1160401"/>
                </a:cubicBezTo>
                <a:cubicBezTo>
                  <a:pt x="435430" y="1145980"/>
                  <a:pt x="447120" y="1134290"/>
                  <a:pt x="461541" y="1134290"/>
                </a:cubicBezTo>
                <a:close/>
                <a:moveTo>
                  <a:pt x="243827" y="1134290"/>
                </a:moveTo>
                <a:cubicBezTo>
                  <a:pt x="258248" y="1134290"/>
                  <a:pt x="269938" y="1145980"/>
                  <a:pt x="269938" y="1160401"/>
                </a:cubicBezTo>
                <a:cubicBezTo>
                  <a:pt x="269938" y="1174822"/>
                  <a:pt x="258248" y="1186512"/>
                  <a:pt x="243827" y="1186512"/>
                </a:cubicBezTo>
                <a:cubicBezTo>
                  <a:pt x="229406" y="1186512"/>
                  <a:pt x="217716" y="1174822"/>
                  <a:pt x="217716" y="1160401"/>
                </a:cubicBezTo>
                <a:cubicBezTo>
                  <a:pt x="217716" y="1145980"/>
                  <a:pt x="229406" y="1134290"/>
                  <a:pt x="243827" y="1134290"/>
                </a:cubicBezTo>
                <a:close/>
                <a:moveTo>
                  <a:pt x="26113" y="1134290"/>
                </a:moveTo>
                <a:cubicBezTo>
                  <a:pt x="40534" y="1134290"/>
                  <a:pt x="52224" y="1145980"/>
                  <a:pt x="52224" y="1160401"/>
                </a:cubicBezTo>
                <a:cubicBezTo>
                  <a:pt x="52224" y="1174822"/>
                  <a:pt x="40534" y="1186512"/>
                  <a:pt x="26113" y="1186512"/>
                </a:cubicBezTo>
                <a:cubicBezTo>
                  <a:pt x="11692" y="1186512"/>
                  <a:pt x="2" y="1174822"/>
                  <a:pt x="2" y="1160401"/>
                </a:cubicBezTo>
                <a:cubicBezTo>
                  <a:pt x="2" y="1145980"/>
                  <a:pt x="11692" y="1134290"/>
                  <a:pt x="26113" y="1134290"/>
                </a:cubicBezTo>
                <a:close/>
                <a:moveTo>
                  <a:pt x="1550112" y="907432"/>
                </a:moveTo>
                <a:cubicBezTo>
                  <a:pt x="1564533" y="907432"/>
                  <a:pt x="1576223" y="919122"/>
                  <a:pt x="1576223" y="933543"/>
                </a:cubicBezTo>
                <a:cubicBezTo>
                  <a:pt x="1576223" y="947964"/>
                  <a:pt x="1564533" y="959654"/>
                  <a:pt x="1550112" y="959654"/>
                </a:cubicBezTo>
                <a:cubicBezTo>
                  <a:pt x="1535691" y="959654"/>
                  <a:pt x="1524001" y="947964"/>
                  <a:pt x="1524001" y="933543"/>
                </a:cubicBezTo>
                <a:cubicBezTo>
                  <a:pt x="1524001" y="919122"/>
                  <a:pt x="1535691" y="907432"/>
                  <a:pt x="1550112" y="907432"/>
                </a:cubicBezTo>
                <a:close/>
                <a:moveTo>
                  <a:pt x="1332398" y="907432"/>
                </a:moveTo>
                <a:cubicBezTo>
                  <a:pt x="1346819" y="907432"/>
                  <a:pt x="1358509" y="919122"/>
                  <a:pt x="1358509" y="933543"/>
                </a:cubicBezTo>
                <a:cubicBezTo>
                  <a:pt x="1358509" y="947964"/>
                  <a:pt x="1346819" y="959654"/>
                  <a:pt x="1332398" y="959654"/>
                </a:cubicBezTo>
                <a:cubicBezTo>
                  <a:pt x="1317977" y="959654"/>
                  <a:pt x="1306287" y="947964"/>
                  <a:pt x="1306287" y="933543"/>
                </a:cubicBezTo>
                <a:cubicBezTo>
                  <a:pt x="1306287" y="919122"/>
                  <a:pt x="1317977" y="907432"/>
                  <a:pt x="1332398" y="907432"/>
                </a:cubicBezTo>
                <a:close/>
                <a:moveTo>
                  <a:pt x="1114685" y="907432"/>
                </a:moveTo>
                <a:cubicBezTo>
                  <a:pt x="1129106" y="907432"/>
                  <a:pt x="1140796" y="919122"/>
                  <a:pt x="1140796" y="933543"/>
                </a:cubicBezTo>
                <a:cubicBezTo>
                  <a:pt x="1140796" y="947964"/>
                  <a:pt x="1129106" y="959654"/>
                  <a:pt x="1114685" y="959654"/>
                </a:cubicBezTo>
                <a:cubicBezTo>
                  <a:pt x="1100264" y="959654"/>
                  <a:pt x="1088574" y="947964"/>
                  <a:pt x="1088574" y="933543"/>
                </a:cubicBezTo>
                <a:cubicBezTo>
                  <a:pt x="1088574" y="919122"/>
                  <a:pt x="1100264" y="907432"/>
                  <a:pt x="1114685" y="907432"/>
                </a:cubicBezTo>
                <a:close/>
                <a:moveTo>
                  <a:pt x="896971" y="907432"/>
                </a:moveTo>
                <a:cubicBezTo>
                  <a:pt x="911392" y="907432"/>
                  <a:pt x="923082" y="919122"/>
                  <a:pt x="923082" y="933543"/>
                </a:cubicBezTo>
                <a:cubicBezTo>
                  <a:pt x="923082" y="947964"/>
                  <a:pt x="911392" y="959654"/>
                  <a:pt x="896971" y="959654"/>
                </a:cubicBezTo>
                <a:cubicBezTo>
                  <a:pt x="882550" y="959654"/>
                  <a:pt x="870860" y="947964"/>
                  <a:pt x="870860" y="933543"/>
                </a:cubicBezTo>
                <a:cubicBezTo>
                  <a:pt x="870860" y="919122"/>
                  <a:pt x="882550" y="907432"/>
                  <a:pt x="896971" y="907432"/>
                </a:cubicBezTo>
                <a:close/>
                <a:moveTo>
                  <a:pt x="679256" y="907432"/>
                </a:moveTo>
                <a:cubicBezTo>
                  <a:pt x="693677" y="907432"/>
                  <a:pt x="705367" y="919122"/>
                  <a:pt x="705367" y="933543"/>
                </a:cubicBezTo>
                <a:cubicBezTo>
                  <a:pt x="705367" y="947964"/>
                  <a:pt x="693677" y="959654"/>
                  <a:pt x="679256" y="959654"/>
                </a:cubicBezTo>
                <a:cubicBezTo>
                  <a:pt x="664835" y="959654"/>
                  <a:pt x="653145" y="947964"/>
                  <a:pt x="653145" y="933543"/>
                </a:cubicBezTo>
                <a:cubicBezTo>
                  <a:pt x="653145" y="919122"/>
                  <a:pt x="664835" y="907432"/>
                  <a:pt x="679256" y="907432"/>
                </a:cubicBezTo>
                <a:close/>
                <a:moveTo>
                  <a:pt x="461542" y="907432"/>
                </a:moveTo>
                <a:cubicBezTo>
                  <a:pt x="475963" y="907432"/>
                  <a:pt x="487653" y="919122"/>
                  <a:pt x="487653" y="933543"/>
                </a:cubicBezTo>
                <a:cubicBezTo>
                  <a:pt x="487653" y="947964"/>
                  <a:pt x="475963" y="959654"/>
                  <a:pt x="461542" y="959654"/>
                </a:cubicBezTo>
                <a:cubicBezTo>
                  <a:pt x="447121" y="959654"/>
                  <a:pt x="435431" y="947964"/>
                  <a:pt x="435431" y="933543"/>
                </a:cubicBezTo>
                <a:cubicBezTo>
                  <a:pt x="435431" y="919122"/>
                  <a:pt x="447121" y="907432"/>
                  <a:pt x="461542" y="907432"/>
                </a:cubicBezTo>
                <a:close/>
                <a:moveTo>
                  <a:pt x="243828" y="907432"/>
                </a:moveTo>
                <a:cubicBezTo>
                  <a:pt x="258249" y="907432"/>
                  <a:pt x="269939" y="919122"/>
                  <a:pt x="269939" y="933543"/>
                </a:cubicBezTo>
                <a:cubicBezTo>
                  <a:pt x="269939" y="947964"/>
                  <a:pt x="258249" y="959654"/>
                  <a:pt x="243828" y="959654"/>
                </a:cubicBezTo>
                <a:cubicBezTo>
                  <a:pt x="229407" y="959654"/>
                  <a:pt x="217717" y="947964"/>
                  <a:pt x="217717" y="933543"/>
                </a:cubicBezTo>
                <a:cubicBezTo>
                  <a:pt x="217717" y="919122"/>
                  <a:pt x="229407" y="907432"/>
                  <a:pt x="243828" y="907432"/>
                </a:cubicBezTo>
                <a:close/>
                <a:moveTo>
                  <a:pt x="26114" y="907432"/>
                </a:moveTo>
                <a:cubicBezTo>
                  <a:pt x="40535" y="907432"/>
                  <a:pt x="52225" y="919122"/>
                  <a:pt x="52225" y="933543"/>
                </a:cubicBezTo>
                <a:cubicBezTo>
                  <a:pt x="52225" y="947964"/>
                  <a:pt x="40535" y="959654"/>
                  <a:pt x="26114" y="959654"/>
                </a:cubicBezTo>
                <a:cubicBezTo>
                  <a:pt x="11693" y="959654"/>
                  <a:pt x="3" y="947964"/>
                  <a:pt x="3" y="933543"/>
                </a:cubicBezTo>
                <a:cubicBezTo>
                  <a:pt x="3" y="919122"/>
                  <a:pt x="11693" y="907432"/>
                  <a:pt x="26114" y="907432"/>
                </a:cubicBezTo>
                <a:close/>
                <a:moveTo>
                  <a:pt x="1550113" y="680574"/>
                </a:moveTo>
                <a:cubicBezTo>
                  <a:pt x="1564534" y="680574"/>
                  <a:pt x="1576224" y="692264"/>
                  <a:pt x="1576224" y="706685"/>
                </a:cubicBezTo>
                <a:cubicBezTo>
                  <a:pt x="1576224" y="721106"/>
                  <a:pt x="1564534" y="732796"/>
                  <a:pt x="1550113" y="732796"/>
                </a:cubicBezTo>
                <a:cubicBezTo>
                  <a:pt x="1535692" y="732796"/>
                  <a:pt x="1524002" y="721106"/>
                  <a:pt x="1524002" y="706685"/>
                </a:cubicBezTo>
                <a:cubicBezTo>
                  <a:pt x="1524002" y="692264"/>
                  <a:pt x="1535692" y="680574"/>
                  <a:pt x="1550113" y="680574"/>
                </a:cubicBezTo>
                <a:close/>
                <a:moveTo>
                  <a:pt x="1332399" y="680574"/>
                </a:moveTo>
                <a:cubicBezTo>
                  <a:pt x="1346820" y="680574"/>
                  <a:pt x="1358510" y="692264"/>
                  <a:pt x="1358510" y="706685"/>
                </a:cubicBezTo>
                <a:cubicBezTo>
                  <a:pt x="1358510" y="721106"/>
                  <a:pt x="1346820" y="732796"/>
                  <a:pt x="1332399" y="732796"/>
                </a:cubicBezTo>
                <a:cubicBezTo>
                  <a:pt x="1317978" y="732796"/>
                  <a:pt x="1306288" y="721106"/>
                  <a:pt x="1306288" y="706685"/>
                </a:cubicBezTo>
                <a:cubicBezTo>
                  <a:pt x="1306288" y="692264"/>
                  <a:pt x="1317978" y="680574"/>
                  <a:pt x="1332399" y="680574"/>
                </a:cubicBezTo>
                <a:close/>
                <a:moveTo>
                  <a:pt x="1114686" y="680574"/>
                </a:moveTo>
                <a:cubicBezTo>
                  <a:pt x="1129107" y="680574"/>
                  <a:pt x="1140797" y="692264"/>
                  <a:pt x="1140797" y="706685"/>
                </a:cubicBezTo>
                <a:cubicBezTo>
                  <a:pt x="1140797" y="721106"/>
                  <a:pt x="1129107" y="732796"/>
                  <a:pt x="1114686" y="732796"/>
                </a:cubicBezTo>
                <a:cubicBezTo>
                  <a:pt x="1100265" y="732796"/>
                  <a:pt x="1088575" y="721106"/>
                  <a:pt x="1088575" y="706685"/>
                </a:cubicBezTo>
                <a:cubicBezTo>
                  <a:pt x="1088575" y="692264"/>
                  <a:pt x="1100265" y="680574"/>
                  <a:pt x="1114686" y="680574"/>
                </a:cubicBezTo>
                <a:close/>
                <a:moveTo>
                  <a:pt x="896972" y="680574"/>
                </a:moveTo>
                <a:cubicBezTo>
                  <a:pt x="911393" y="680574"/>
                  <a:pt x="923083" y="692264"/>
                  <a:pt x="923083" y="706685"/>
                </a:cubicBezTo>
                <a:cubicBezTo>
                  <a:pt x="923083" y="721106"/>
                  <a:pt x="911393" y="732796"/>
                  <a:pt x="896972" y="732796"/>
                </a:cubicBezTo>
                <a:cubicBezTo>
                  <a:pt x="882551" y="732796"/>
                  <a:pt x="870861" y="721106"/>
                  <a:pt x="870861" y="706685"/>
                </a:cubicBezTo>
                <a:cubicBezTo>
                  <a:pt x="870861" y="692264"/>
                  <a:pt x="882551" y="680574"/>
                  <a:pt x="896972" y="680574"/>
                </a:cubicBezTo>
                <a:close/>
                <a:moveTo>
                  <a:pt x="679257" y="680574"/>
                </a:moveTo>
                <a:cubicBezTo>
                  <a:pt x="693678" y="680574"/>
                  <a:pt x="705368" y="692264"/>
                  <a:pt x="705368" y="706685"/>
                </a:cubicBezTo>
                <a:cubicBezTo>
                  <a:pt x="705368" y="721106"/>
                  <a:pt x="693678" y="732796"/>
                  <a:pt x="679257" y="732796"/>
                </a:cubicBezTo>
                <a:cubicBezTo>
                  <a:pt x="664836" y="732796"/>
                  <a:pt x="653146" y="721106"/>
                  <a:pt x="653146" y="706685"/>
                </a:cubicBezTo>
                <a:cubicBezTo>
                  <a:pt x="653146" y="692264"/>
                  <a:pt x="664836" y="680574"/>
                  <a:pt x="679257" y="680574"/>
                </a:cubicBezTo>
                <a:close/>
                <a:moveTo>
                  <a:pt x="461543" y="680574"/>
                </a:moveTo>
                <a:cubicBezTo>
                  <a:pt x="475964" y="680574"/>
                  <a:pt x="487654" y="692264"/>
                  <a:pt x="487654" y="706685"/>
                </a:cubicBezTo>
                <a:cubicBezTo>
                  <a:pt x="487654" y="721106"/>
                  <a:pt x="475964" y="732796"/>
                  <a:pt x="461543" y="732796"/>
                </a:cubicBezTo>
                <a:cubicBezTo>
                  <a:pt x="447122" y="732796"/>
                  <a:pt x="435432" y="721106"/>
                  <a:pt x="435432" y="706685"/>
                </a:cubicBezTo>
                <a:cubicBezTo>
                  <a:pt x="435432" y="692264"/>
                  <a:pt x="447122" y="680574"/>
                  <a:pt x="461543" y="680574"/>
                </a:cubicBezTo>
                <a:close/>
                <a:moveTo>
                  <a:pt x="243829" y="680574"/>
                </a:moveTo>
                <a:cubicBezTo>
                  <a:pt x="258250" y="680574"/>
                  <a:pt x="269940" y="692264"/>
                  <a:pt x="269940" y="706685"/>
                </a:cubicBezTo>
                <a:cubicBezTo>
                  <a:pt x="269940" y="721106"/>
                  <a:pt x="258250" y="732796"/>
                  <a:pt x="243829" y="732796"/>
                </a:cubicBezTo>
                <a:cubicBezTo>
                  <a:pt x="229408" y="732796"/>
                  <a:pt x="217718" y="721106"/>
                  <a:pt x="217718" y="706685"/>
                </a:cubicBezTo>
                <a:cubicBezTo>
                  <a:pt x="217718" y="692264"/>
                  <a:pt x="229408" y="680574"/>
                  <a:pt x="243829" y="680574"/>
                </a:cubicBezTo>
                <a:close/>
                <a:moveTo>
                  <a:pt x="26115" y="680574"/>
                </a:moveTo>
                <a:cubicBezTo>
                  <a:pt x="40536" y="680574"/>
                  <a:pt x="52226" y="692264"/>
                  <a:pt x="52226" y="706685"/>
                </a:cubicBezTo>
                <a:cubicBezTo>
                  <a:pt x="52226" y="721106"/>
                  <a:pt x="40536" y="732796"/>
                  <a:pt x="26115" y="732796"/>
                </a:cubicBezTo>
                <a:cubicBezTo>
                  <a:pt x="11694" y="732796"/>
                  <a:pt x="4" y="721106"/>
                  <a:pt x="4" y="706685"/>
                </a:cubicBezTo>
                <a:cubicBezTo>
                  <a:pt x="4" y="692264"/>
                  <a:pt x="11694" y="680574"/>
                  <a:pt x="26115" y="680574"/>
                </a:cubicBezTo>
                <a:close/>
                <a:moveTo>
                  <a:pt x="26116" y="453717"/>
                </a:moveTo>
                <a:cubicBezTo>
                  <a:pt x="40537" y="453717"/>
                  <a:pt x="52227" y="465407"/>
                  <a:pt x="52227" y="479827"/>
                </a:cubicBezTo>
                <a:cubicBezTo>
                  <a:pt x="52227" y="494249"/>
                  <a:pt x="40537" y="505939"/>
                  <a:pt x="26116" y="505939"/>
                </a:cubicBezTo>
                <a:cubicBezTo>
                  <a:pt x="11695" y="505939"/>
                  <a:pt x="5" y="494249"/>
                  <a:pt x="5" y="479827"/>
                </a:cubicBezTo>
                <a:cubicBezTo>
                  <a:pt x="5" y="465407"/>
                  <a:pt x="11695" y="453717"/>
                  <a:pt x="26116" y="453717"/>
                </a:cubicBezTo>
                <a:close/>
                <a:moveTo>
                  <a:pt x="243830" y="453717"/>
                </a:moveTo>
                <a:cubicBezTo>
                  <a:pt x="258251" y="453717"/>
                  <a:pt x="269941" y="465407"/>
                  <a:pt x="269941" y="479827"/>
                </a:cubicBezTo>
                <a:cubicBezTo>
                  <a:pt x="269941" y="494249"/>
                  <a:pt x="258251" y="505939"/>
                  <a:pt x="243830" y="505939"/>
                </a:cubicBezTo>
                <a:cubicBezTo>
                  <a:pt x="229409" y="505939"/>
                  <a:pt x="217719" y="494249"/>
                  <a:pt x="217719" y="479827"/>
                </a:cubicBezTo>
                <a:cubicBezTo>
                  <a:pt x="217719" y="465407"/>
                  <a:pt x="229409" y="453717"/>
                  <a:pt x="243830" y="453717"/>
                </a:cubicBezTo>
                <a:close/>
                <a:moveTo>
                  <a:pt x="461544" y="453717"/>
                </a:moveTo>
                <a:cubicBezTo>
                  <a:pt x="475965" y="453717"/>
                  <a:pt x="487655" y="465407"/>
                  <a:pt x="487655" y="479827"/>
                </a:cubicBezTo>
                <a:cubicBezTo>
                  <a:pt x="487655" y="494249"/>
                  <a:pt x="475965" y="505939"/>
                  <a:pt x="461544" y="505939"/>
                </a:cubicBezTo>
                <a:cubicBezTo>
                  <a:pt x="447123" y="505939"/>
                  <a:pt x="435433" y="494249"/>
                  <a:pt x="435433" y="479827"/>
                </a:cubicBezTo>
                <a:cubicBezTo>
                  <a:pt x="435433" y="465407"/>
                  <a:pt x="447123" y="453717"/>
                  <a:pt x="461544" y="453717"/>
                </a:cubicBezTo>
                <a:close/>
                <a:moveTo>
                  <a:pt x="679258" y="453717"/>
                </a:moveTo>
                <a:cubicBezTo>
                  <a:pt x="693679" y="453717"/>
                  <a:pt x="705369" y="465407"/>
                  <a:pt x="705369" y="479827"/>
                </a:cubicBezTo>
                <a:cubicBezTo>
                  <a:pt x="705369" y="494249"/>
                  <a:pt x="693679" y="505939"/>
                  <a:pt x="679258" y="505939"/>
                </a:cubicBezTo>
                <a:cubicBezTo>
                  <a:pt x="664837" y="505939"/>
                  <a:pt x="653147" y="494249"/>
                  <a:pt x="653147" y="479827"/>
                </a:cubicBezTo>
                <a:cubicBezTo>
                  <a:pt x="653147" y="465407"/>
                  <a:pt x="664837" y="453717"/>
                  <a:pt x="679258" y="453717"/>
                </a:cubicBezTo>
                <a:close/>
                <a:moveTo>
                  <a:pt x="896973" y="453717"/>
                </a:moveTo>
                <a:cubicBezTo>
                  <a:pt x="911394" y="453717"/>
                  <a:pt x="923084" y="465406"/>
                  <a:pt x="923084" y="479827"/>
                </a:cubicBezTo>
                <a:cubicBezTo>
                  <a:pt x="923084" y="494248"/>
                  <a:pt x="911394" y="505939"/>
                  <a:pt x="896973" y="505939"/>
                </a:cubicBezTo>
                <a:cubicBezTo>
                  <a:pt x="882552" y="505939"/>
                  <a:pt x="870862" y="494248"/>
                  <a:pt x="870862" y="479827"/>
                </a:cubicBezTo>
                <a:cubicBezTo>
                  <a:pt x="870862" y="465406"/>
                  <a:pt x="882552" y="453717"/>
                  <a:pt x="896973" y="453717"/>
                </a:cubicBezTo>
                <a:close/>
                <a:moveTo>
                  <a:pt x="1114687" y="453717"/>
                </a:moveTo>
                <a:cubicBezTo>
                  <a:pt x="1129108" y="453717"/>
                  <a:pt x="1140798" y="465406"/>
                  <a:pt x="1140798" y="479827"/>
                </a:cubicBezTo>
                <a:cubicBezTo>
                  <a:pt x="1140798" y="494248"/>
                  <a:pt x="1129108" y="505938"/>
                  <a:pt x="1114687" y="505938"/>
                </a:cubicBezTo>
                <a:cubicBezTo>
                  <a:pt x="1100266" y="505938"/>
                  <a:pt x="1088576" y="494248"/>
                  <a:pt x="1088576" y="479827"/>
                </a:cubicBezTo>
                <a:cubicBezTo>
                  <a:pt x="1088576" y="465406"/>
                  <a:pt x="1100266" y="453717"/>
                  <a:pt x="1114687" y="453717"/>
                </a:cubicBezTo>
                <a:close/>
                <a:moveTo>
                  <a:pt x="1332400" y="453716"/>
                </a:moveTo>
                <a:cubicBezTo>
                  <a:pt x="1346821" y="453716"/>
                  <a:pt x="1358511" y="465406"/>
                  <a:pt x="1358511" y="479827"/>
                </a:cubicBezTo>
                <a:cubicBezTo>
                  <a:pt x="1358511" y="494248"/>
                  <a:pt x="1346821" y="505938"/>
                  <a:pt x="1332400" y="505938"/>
                </a:cubicBezTo>
                <a:cubicBezTo>
                  <a:pt x="1317979" y="505938"/>
                  <a:pt x="1306289" y="494248"/>
                  <a:pt x="1306289" y="479827"/>
                </a:cubicBezTo>
                <a:cubicBezTo>
                  <a:pt x="1306289" y="465406"/>
                  <a:pt x="1317979" y="453716"/>
                  <a:pt x="1332400" y="453716"/>
                </a:cubicBezTo>
                <a:close/>
                <a:moveTo>
                  <a:pt x="1550114" y="453716"/>
                </a:moveTo>
                <a:cubicBezTo>
                  <a:pt x="1564535" y="453716"/>
                  <a:pt x="1576225" y="465406"/>
                  <a:pt x="1576225" y="479827"/>
                </a:cubicBezTo>
                <a:cubicBezTo>
                  <a:pt x="1576225" y="494248"/>
                  <a:pt x="1564535" y="505938"/>
                  <a:pt x="1550114" y="505938"/>
                </a:cubicBezTo>
                <a:cubicBezTo>
                  <a:pt x="1535693" y="505938"/>
                  <a:pt x="1524003" y="494248"/>
                  <a:pt x="1524003" y="479827"/>
                </a:cubicBezTo>
                <a:cubicBezTo>
                  <a:pt x="1524003" y="465406"/>
                  <a:pt x="1535693" y="453716"/>
                  <a:pt x="1550114" y="453716"/>
                </a:cubicBezTo>
                <a:close/>
                <a:moveTo>
                  <a:pt x="1114688" y="226858"/>
                </a:moveTo>
                <a:cubicBezTo>
                  <a:pt x="1129109" y="226858"/>
                  <a:pt x="1140799" y="238548"/>
                  <a:pt x="1140799" y="252969"/>
                </a:cubicBezTo>
                <a:cubicBezTo>
                  <a:pt x="1140799" y="267390"/>
                  <a:pt x="1129109" y="279080"/>
                  <a:pt x="1114688" y="279080"/>
                </a:cubicBezTo>
                <a:cubicBezTo>
                  <a:pt x="1100267" y="279080"/>
                  <a:pt x="1088577" y="267390"/>
                  <a:pt x="1088577" y="252969"/>
                </a:cubicBezTo>
                <a:cubicBezTo>
                  <a:pt x="1088577" y="238548"/>
                  <a:pt x="1100267" y="226858"/>
                  <a:pt x="1114688" y="226858"/>
                </a:cubicBezTo>
                <a:close/>
                <a:moveTo>
                  <a:pt x="896974" y="226858"/>
                </a:moveTo>
                <a:cubicBezTo>
                  <a:pt x="911395" y="226858"/>
                  <a:pt x="923085" y="238548"/>
                  <a:pt x="923085" y="252969"/>
                </a:cubicBezTo>
                <a:cubicBezTo>
                  <a:pt x="923085" y="267390"/>
                  <a:pt x="911395" y="279080"/>
                  <a:pt x="896974" y="279080"/>
                </a:cubicBezTo>
                <a:cubicBezTo>
                  <a:pt x="882553" y="279080"/>
                  <a:pt x="870863" y="267390"/>
                  <a:pt x="870863" y="252969"/>
                </a:cubicBezTo>
                <a:cubicBezTo>
                  <a:pt x="870863" y="238548"/>
                  <a:pt x="882553" y="226858"/>
                  <a:pt x="896974" y="226858"/>
                </a:cubicBezTo>
                <a:close/>
                <a:moveTo>
                  <a:pt x="679259" y="226858"/>
                </a:moveTo>
                <a:cubicBezTo>
                  <a:pt x="693680" y="226858"/>
                  <a:pt x="705370" y="238548"/>
                  <a:pt x="705370" y="252970"/>
                </a:cubicBezTo>
                <a:cubicBezTo>
                  <a:pt x="705370" y="267391"/>
                  <a:pt x="693680" y="279080"/>
                  <a:pt x="679259" y="279080"/>
                </a:cubicBezTo>
                <a:cubicBezTo>
                  <a:pt x="664838" y="279080"/>
                  <a:pt x="653148" y="267391"/>
                  <a:pt x="653148" y="252970"/>
                </a:cubicBezTo>
                <a:cubicBezTo>
                  <a:pt x="653148" y="238548"/>
                  <a:pt x="664838" y="226858"/>
                  <a:pt x="679259" y="226858"/>
                </a:cubicBezTo>
                <a:close/>
                <a:moveTo>
                  <a:pt x="461545" y="226858"/>
                </a:moveTo>
                <a:cubicBezTo>
                  <a:pt x="475966" y="226858"/>
                  <a:pt x="487656" y="238549"/>
                  <a:pt x="487656" y="252970"/>
                </a:cubicBezTo>
                <a:cubicBezTo>
                  <a:pt x="487656" y="267391"/>
                  <a:pt x="475966" y="279081"/>
                  <a:pt x="461545" y="279081"/>
                </a:cubicBezTo>
                <a:cubicBezTo>
                  <a:pt x="447124" y="279081"/>
                  <a:pt x="435434" y="267391"/>
                  <a:pt x="435434" y="252970"/>
                </a:cubicBezTo>
                <a:cubicBezTo>
                  <a:pt x="435434" y="238549"/>
                  <a:pt x="447124" y="226858"/>
                  <a:pt x="461545" y="226858"/>
                </a:cubicBezTo>
                <a:close/>
                <a:moveTo>
                  <a:pt x="243831" y="226858"/>
                </a:moveTo>
                <a:cubicBezTo>
                  <a:pt x="258252" y="226858"/>
                  <a:pt x="269942" y="238549"/>
                  <a:pt x="269942" y="252970"/>
                </a:cubicBezTo>
                <a:cubicBezTo>
                  <a:pt x="269942" y="267391"/>
                  <a:pt x="258252" y="279081"/>
                  <a:pt x="243831" y="279081"/>
                </a:cubicBezTo>
                <a:cubicBezTo>
                  <a:pt x="229410" y="279081"/>
                  <a:pt x="217720" y="267391"/>
                  <a:pt x="217720" y="252970"/>
                </a:cubicBezTo>
                <a:cubicBezTo>
                  <a:pt x="217720" y="238549"/>
                  <a:pt x="229410" y="226858"/>
                  <a:pt x="243831" y="226858"/>
                </a:cubicBezTo>
                <a:close/>
                <a:moveTo>
                  <a:pt x="26117" y="226858"/>
                </a:moveTo>
                <a:cubicBezTo>
                  <a:pt x="40538" y="226858"/>
                  <a:pt x="52228" y="238549"/>
                  <a:pt x="52228" y="252970"/>
                </a:cubicBezTo>
                <a:cubicBezTo>
                  <a:pt x="52228" y="267391"/>
                  <a:pt x="40538" y="279081"/>
                  <a:pt x="26117" y="279081"/>
                </a:cubicBezTo>
                <a:cubicBezTo>
                  <a:pt x="11696" y="279081"/>
                  <a:pt x="6" y="267391"/>
                  <a:pt x="6" y="252970"/>
                </a:cubicBezTo>
                <a:cubicBezTo>
                  <a:pt x="6" y="238549"/>
                  <a:pt x="11696" y="226858"/>
                  <a:pt x="26117" y="226858"/>
                </a:cubicBezTo>
                <a:close/>
                <a:moveTo>
                  <a:pt x="1332401" y="226858"/>
                </a:moveTo>
                <a:cubicBezTo>
                  <a:pt x="1346822" y="226858"/>
                  <a:pt x="1358512" y="238548"/>
                  <a:pt x="1358512" y="252969"/>
                </a:cubicBezTo>
                <a:cubicBezTo>
                  <a:pt x="1358512" y="267390"/>
                  <a:pt x="1346822" y="279080"/>
                  <a:pt x="1332401" y="279080"/>
                </a:cubicBezTo>
                <a:cubicBezTo>
                  <a:pt x="1317980" y="279080"/>
                  <a:pt x="1306290" y="267390"/>
                  <a:pt x="1306290" y="252969"/>
                </a:cubicBezTo>
                <a:cubicBezTo>
                  <a:pt x="1306290" y="238548"/>
                  <a:pt x="1317980" y="226858"/>
                  <a:pt x="1332401" y="226858"/>
                </a:cubicBezTo>
                <a:close/>
                <a:moveTo>
                  <a:pt x="1550115" y="226858"/>
                </a:moveTo>
                <a:cubicBezTo>
                  <a:pt x="1564536" y="226858"/>
                  <a:pt x="1576226" y="238548"/>
                  <a:pt x="1576226" y="252969"/>
                </a:cubicBezTo>
                <a:cubicBezTo>
                  <a:pt x="1576226" y="267390"/>
                  <a:pt x="1564536" y="279080"/>
                  <a:pt x="1550115" y="279080"/>
                </a:cubicBezTo>
                <a:cubicBezTo>
                  <a:pt x="1535694" y="279080"/>
                  <a:pt x="1524004" y="267390"/>
                  <a:pt x="1524004" y="252969"/>
                </a:cubicBezTo>
                <a:cubicBezTo>
                  <a:pt x="1524004" y="238548"/>
                  <a:pt x="1535694" y="226858"/>
                  <a:pt x="1550115" y="226858"/>
                </a:cubicBezTo>
                <a:close/>
                <a:moveTo>
                  <a:pt x="26117" y="2"/>
                </a:moveTo>
                <a:cubicBezTo>
                  <a:pt x="40538" y="2"/>
                  <a:pt x="52228" y="11692"/>
                  <a:pt x="52228" y="26113"/>
                </a:cubicBezTo>
                <a:cubicBezTo>
                  <a:pt x="52228" y="40534"/>
                  <a:pt x="40538" y="52224"/>
                  <a:pt x="26117" y="52224"/>
                </a:cubicBezTo>
                <a:cubicBezTo>
                  <a:pt x="11696" y="52224"/>
                  <a:pt x="6" y="40534"/>
                  <a:pt x="6" y="26113"/>
                </a:cubicBezTo>
                <a:cubicBezTo>
                  <a:pt x="6" y="11692"/>
                  <a:pt x="11696" y="2"/>
                  <a:pt x="26117" y="2"/>
                </a:cubicBezTo>
                <a:close/>
                <a:moveTo>
                  <a:pt x="243831" y="1"/>
                </a:moveTo>
                <a:cubicBezTo>
                  <a:pt x="258252" y="1"/>
                  <a:pt x="269942" y="11691"/>
                  <a:pt x="269942" y="26112"/>
                </a:cubicBezTo>
                <a:cubicBezTo>
                  <a:pt x="269942" y="40534"/>
                  <a:pt x="258252" y="52224"/>
                  <a:pt x="243831" y="52224"/>
                </a:cubicBezTo>
                <a:cubicBezTo>
                  <a:pt x="229410" y="52224"/>
                  <a:pt x="217720" y="40534"/>
                  <a:pt x="217720" y="26112"/>
                </a:cubicBezTo>
                <a:cubicBezTo>
                  <a:pt x="217720" y="11691"/>
                  <a:pt x="229410" y="1"/>
                  <a:pt x="243831" y="1"/>
                </a:cubicBezTo>
                <a:close/>
                <a:moveTo>
                  <a:pt x="461545" y="1"/>
                </a:moveTo>
                <a:cubicBezTo>
                  <a:pt x="475966" y="1"/>
                  <a:pt x="487656" y="11691"/>
                  <a:pt x="487656" y="26112"/>
                </a:cubicBezTo>
                <a:cubicBezTo>
                  <a:pt x="487656" y="40534"/>
                  <a:pt x="475966" y="52224"/>
                  <a:pt x="461545" y="52224"/>
                </a:cubicBezTo>
                <a:cubicBezTo>
                  <a:pt x="447124" y="52224"/>
                  <a:pt x="435434" y="40534"/>
                  <a:pt x="435434" y="26112"/>
                </a:cubicBezTo>
                <a:cubicBezTo>
                  <a:pt x="435434" y="11691"/>
                  <a:pt x="447124" y="1"/>
                  <a:pt x="461545" y="1"/>
                </a:cubicBezTo>
                <a:close/>
                <a:moveTo>
                  <a:pt x="679259" y="1"/>
                </a:moveTo>
                <a:cubicBezTo>
                  <a:pt x="693680" y="1"/>
                  <a:pt x="705370" y="11691"/>
                  <a:pt x="705370" y="26112"/>
                </a:cubicBezTo>
                <a:cubicBezTo>
                  <a:pt x="705370" y="40533"/>
                  <a:pt x="693680" y="52223"/>
                  <a:pt x="679259" y="52223"/>
                </a:cubicBezTo>
                <a:cubicBezTo>
                  <a:pt x="664838" y="52223"/>
                  <a:pt x="653148" y="40533"/>
                  <a:pt x="653148" y="26112"/>
                </a:cubicBezTo>
                <a:cubicBezTo>
                  <a:pt x="653148" y="11691"/>
                  <a:pt x="664838" y="1"/>
                  <a:pt x="679259" y="1"/>
                </a:cubicBezTo>
                <a:close/>
                <a:moveTo>
                  <a:pt x="896974" y="1"/>
                </a:moveTo>
                <a:cubicBezTo>
                  <a:pt x="911395" y="1"/>
                  <a:pt x="923085" y="11691"/>
                  <a:pt x="923085" y="26112"/>
                </a:cubicBezTo>
                <a:cubicBezTo>
                  <a:pt x="923085" y="40533"/>
                  <a:pt x="911395" y="52223"/>
                  <a:pt x="896974" y="52223"/>
                </a:cubicBezTo>
                <a:cubicBezTo>
                  <a:pt x="882553" y="52223"/>
                  <a:pt x="870863" y="40533"/>
                  <a:pt x="870863" y="26112"/>
                </a:cubicBezTo>
                <a:cubicBezTo>
                  <a:pt x="870863" y="11691"/>
                  <a:pt x="882553" y="1"/>
                  <a:pt x="896974" y="1"/>
                </a:cubicBezTo>
                <a:close/>
                <a:moveTo>
                  <a:pt x="1114688" y="1"/>
                </a:moveTo>
                <a:cubicBezTo>
                  <a:pt x="1129109" y="1"/>
                  <a:pt x="1140799" y="11691"/>
                  <a:pt x="1140799" y="26112"/>
                </a:cubicBezTo>
                <a:cubicBezTo>
                  <a:pt x="1140799" y="40533"/>
                  <a:pt x="1129109" y="52223"/>
                  <a:pt x="1114688" y="52223"/>
                </a:cubicBezTo>
                <a:cubicBezTo>
                  <a:pt x="1100267" y="52223"/>
                  <a:pt x="1088577" y="40533"/>
                  <a:pt x="1088577" y="26112"/>
                </a:cubicBezTo>
                <a:cubicBezTo>
                  <a:pt x="1088577" y="11691"/>
                  <a:pt x="1100267" y="1"/>
                  <a:pt x="1114688" y="1"/>
                </a:cubicBezTo>
                <a:close/>
                <a:moveTo>
                  <a:pt x="1332401" y="0"/>
                </a:moveTo>
                <a:cubicBezTo>
                  <a:pt x="1346822" y="0"/>
                  <a:pt x="1358512" y="11690"/>
                  <a:pt x="1358512" y="26111"/>
                </a:cubicBezTo>
                <a:cubicBezTo>
                  <a:pt x="1358512" y="40533"/>
                  <a:pt x="1346822" y="52223"/>
                  <a:pt x="1332401" y="52223"/>
                </a:cubicBezTo>
                <a:cubicBezTo>
                  <a:pt x="1317980" y="52223"/>
                  <a:pt x="1306290" y="40533"/>
                  <a:pt x="1306290" y="26111"/>
                </a:cubicBezTo>
                <a:cubicBezTo>
                  <a:pt x="1306290" y="11690"/>
                  <a:pt x="1317980" y="0"/>
                  <a:pt x="1332401" y="0"/>
                </a:cubicBezTo>
                <a:close/>
                <a:moveTo>
                  <a:pt x="1550115" y="0"/>
                </a:moveTo>
                <a:cubicBezTo>
                  <a:pt x="1564536" y="0"/>
                  <a:pt x="1576226" y="11690"/>
                  <a:pt x="1576226" y="26111"/>
                </a:cubicBezTo>
                <a:cubicBezTo>
                  <a:pt x="1576226" y="40532"/>
                  <a:pt x="1564536" y="52222"/>
                  <a:pt x="1550115" y="52222"/>
                </a:cubicBezTo>
                <a:cubicBezTo>
                  <a:pt x="1535694" y="52222"/>
                  <a:pt x="1524004" y="40532"/>
                  <a:pt x="1524004" y="26111"/>
                </a:cubicBezTo>
                <a:cubicBezTo>
                  <a:pt x="1524004" y="11690"/>
                  <a:pt x="1535694" y="0"/>
                  <a:pt x="1550115" y="0"/>
                </a:cubicBezTo>
                <a:close/>
              </a:path>
            </a:pathLst>
          </a:custGeom>
          <a:solidFill>
            <a:schemeClr val="accent4">
              <a:alpha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id-ID" dirty="0"/>
          </a:p>
        </p:txBody>
      </p:sp>
      <p:sp>
        <p:nvSpPr>
          <p:cNvPr id="27" name="TextBox 26">
            <a:extLst>
              <a:ext uri="{FF2B5EF4-FFF2-40B4-BE49-F238E27FC236}">
                <a16:creationId xmlns:a16="http://schemas.microsoft.com/office/drawing/2014/main" id="{967A80F8-BEE2-4EB1-1464-D1CD69F93525}"/>
              </a:ext>
            </a:extLst>
          </p:cNvPr>
          <p:cNvSpPr txBox="1"/>
          <p:nvPr/>
        </p:nvSpPr>
        <p:spPr>
          <a:xfrm>
            <a:off x="2135638" y="3645402"/>
            <a:ext cx="3682428" cy="646331"/>
          </a:xfrm>
          <a:prstGeom prst="rect">
            <a:avLst/>
          </a:prstGeom>
          <a:noFill/>
        </p:spPr>
        <p:txBody>
          <a:bodyPr wrap="square" rtlCol="0" anchor="t">
            <a:spAutoFit/>
          </a:bodyPr>
          <a:lstStyle/>
          <a:p>
            <a:r>
              <a:rPr lang="en-GB" dirty="0">
                <a:solidFill>
                  <a:schemeClr val="bg2">
                    <a:lumMod val="10000"/>
                  </a:schemeClr>
                </a:solidFill>
                <a:latin typeface="Roboto Condensed" pitchFamily="2" charset="0"/>
                <a:ea typeface="Roboto Condensed" pitchFamily="2" charset="0"/>
              </a:rPr>
              <a:t>Separated from Zimbabwe by the Zambezi River</a:t>
            </a:r>
            <a:endParaRPr lang="en-GB" b="1" dirty="0">
              <a:solidFill>
                <a:schemeClr val="bg2">
                  <a:lumMod val="10000"/>
                </a:schemeClr>
              </a:solidFill>
              <a:latin typeface="Roboto Condensed" pitchFamily="2" charset="0"/>
              <a:ea typeface="Roboto Condensed" pitchFamily="2" charset="0"/>
            </a:endParaRPr>
          </a:p>
        </p:txBody>
      </p:sp>
      <p:sp>
        <p:nvSpPr>
          <p:cNvPr id="29" name="TextBox 28">
            <a:extLst>
              <a:ext uri="{FF2B5EF4-FFF2-40B4-BE49-F238E27FC236}">
                <a16:creationId xmlns:a16="http://schemas.microsoft.com/office/drawing/2014/main" id="{5FB8B57F-A291-C9F7-CCF8-C3FAE1811470}"/>
              </a:ext>
            </a:extLst>
          </p:cNvPr>
          <p:cNvSpPr txBox="1"/>
          <p:nvPr/>
        </p:nvSpPr>
        <p:spPr>
          <a:xfrm>
            <a:off x="2135637" y="5617869"/>
            <a:ext cx="4852991" cy="1200329"/>
          </a:xfrm>
          <a:prstGeom prst="rect">
            <a:avLst/>
          </a:prstGeom>
          <a:noFill/>
        </p:spPr>
        <p:txBody>
          <a:bodyPr wrap="square" rtlCol="0" anchor="t">
            <a:spAutoFit/>
          </a:bodyPr>
          <a:lstStyle/>
          <a:p>
            <a:r>
              <a:rPr lang="en-US" dirty="0">
                <a:latin typeface="Roboto Condensed" pitchFamily="2" charset="0"/>
                <a:ea typeface="Roboto Condensed" pitchFamily="2" charset="0"/>
              </a:rPr>
              <a:t>The annual population growth rate is 2.75%</a:t>
            </a:r>
          </a:p>
          <a:p>
            <a:endParaRPr lang="en-US" dirty="0">
              <a:latin typeface="Roboto Condensed" pitchFamily="2" charset="0"/>
              <a:ea typeface="Roboto Condensed" pitchFamily="2" charset="0"/>
            </a:endParaRPr>
          </a:p>
          <a:p>
            <a:r>
              <a:rPr lang="en-US" dirty="0">
                <a:latin typeface="Roboto Condensed" pitchFamily="2" charset="0"/>
                <a:ea typeface="Roboto Condensed" pitchFamily="2" charset="0"/>
              </a:rPr>
              <a:t>Area </a:t>
            </a:r>
            <a:r>
              <a:rPr lang="en-GB" b="1" dirty="0">
                <a:latin typeface="Roboto Condensed" pitchFamily="2" charset="0"/>
                <a:ea typeface="Roboto Condensed" pitchFamily="2" charset="0"/>
              </a:rPr>
              <a:t>743, 390 square kilometres of which 9,220 km</a:t>
            </a:r>
            <a:r>
              <a:rPr lang="en-US" dirty="0"/>
              <a:t>² is water.</a:t>
            </a:r>
          </a:p>
        </p:txBody>
      </p:sp>
      <p:pic>
        <p:nvPicPr>
          <p:cNvPr id="30" name="Picture 29" descr="A picture containing object&#10;&#10;Description automatically generated">
            <a:extLst>
              <a:ext uri="{FF2B5EF4-FFF2-40B4-BE49-F238E27FC236}">
                <a16:creationId xmlns:a16="http://schemas.microsoft.com/office/drawing/2014/main" id="{6DDC5128-7511-D234-61AB-8F06808DDADA}"/>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8031859" y="5818504"/>
            <a:ext cx="564243" cy="564243"/>
          </a:xfrm>
          <a:prstGeom prst="rect">
            <a:avLst/>
          </a:prstGeom>
        </p:spPr>
      </p:pic>
      <p:sp>
        <p:nvSpPr>
          <p:cNvPr id="31" name="TextBox 30">
            <a:extLst>
              <a:ext uri="{FF2B5EF4-FFF2-40B4-BE49-F238E27FC236}">
                <a16:creationId xmlns:a16="http://schemas.microsoft.com/office/drawing/2014/main" id="{16E647F9-0409-8DCE-0743-B96CBB84B2B3}"/>
              </a:ext>
            </a:extLst>
          </p:cNvPr>
          <p:cNvSpPr txBox="1"/>
          <p:nvPr/>
        </p:nvSpPr>
        <p:spPr>
          <a:xfrm>
            <a:off x="2135637" y="4425771"/>
            <a:ext cx="4581625" cy="923330"/>
          </a:xfrm>
          <a:prstGeom prst="rect">
            <a:avLst/>
          </a:prstGeom>
          <a:noFill/>
        </p:spPr>
        <p:txBody>
          <a:bodyPr wrap="square" rtlCol="0" anchor="t">
            <a:spAutoFit/>
          </a:bodyPr>
          <a:lstStyle/>
          <a:p>
            <a:r>
              <a:rPr lang="en-US" dirty="0"/>
              <a:t>Zambia has a population of about 21.141 million people (2021)</a:t>
            </a:r>
          </a:p>
          <a:p>
            <a:r>
              <a:rPr lang="en-GB" b="1" dirty="0">
                <a:latin typeface="Roboto Condensed" pitchFamily="2" charset="0"/>
                <a:ea typeface="Roboto Condensed" pitchFamily="2" charset="0"/>
              </a:rPr>
              <a:t>Capital and largest city is Lusaka</a:t>
            </a:r>
          </a:p>
        </p:txBody>
      </p:sp>
      <p:pic>
        <p:nvPicPr>
          <p:cNvPr id="4" name="Graphic 3">
            <a:extLst>
              <a:ext uri="{FF2B5EF4-FFF2-40B4-BE49-F238E27FC236}">
                <a16:creationId xmlns:a16="http://schemas.microsoft.com/office/drawing/2014/main" id="{C1737DCF-B3FC-1734-0E68-CE72B16D16D8}"/>
              </a:ext>
            </a:extLst>
          </p:cNvPr>
          <p:cNvPicPr>
            <a:picLocks noChangeAspect="1"/>
          </p:cNvPicPr>
          <p:nvPr/>
        </p:nvPicPr>
        <p:blipFill>
          <a:blip r:embed="rId5">
            <a:extLst>
              <a:ext uri="{96DAC541-7B7A-43D3-8B79-37D633B846F1}">
                <asvg:svgBlip xmlns:asvg="http://schemas.microsoft.com/office/drawing/2016/SVG/main" r:embed="rId6"/>
              </a:ext>
            </a:extLst>
          </a:blip>
          <a:srcRect l="39159" b="10273"/>
          <a:stretch>
            <a:fillRect/>
          </a:stretch>
        </p:blipFill>
        <p:spPr>
          <a:xfrm rot="4093658">
            <a:off x="87530" y="-1140235"/>
            <a:ext cx="2327993" cy="3745377"/>
          </a:xfrm>
          <a:custGeom>
            <a:avLst/>
            <a:gdLst>
              <a:gd name="connsiteX0" fmla="*/ 0 w 1595303"/>
              <a:gd name="connsiteY0" fmla="*/ 1929410 h 2566593"/>
              <a:gd name="connsiteX1" fmla="*/ 770630 w 1595303"/>
              <a:gd name="connsiteY1" fmla="*/ 0 h 2566593"/>
              <a:gd name="connsiteX2" fmla="*/ 1595303 w 1595303"/>
              <a:gd name="connsiteY2" fmla="*/ 0 h 2566593"/>
              <a:gd name="connsiteX3" fmla="*/ 1595303 w 1595303"/>
              <a:gd name="connsiteY3" fmla="*/ 2566593 h 2566593"/>
            </a:gdLst>
            <a:ahLst/>
            <a:cxnLst>
              <a:cxn ang="0">
                <a:pos x="connsiteX0" y="connsiteY0"/>
              </a:cxn>
              <a:cxn ang="0">
                <a:pos x="connsiteX1" y="connsiteY1"/>
              </a:cxn>
              <a:cxn ang="0">
                <a:pos x="connsiteX2" y="connsiteY2"/>
              </a:cxn>
              <a:cxn ang="0">
                <a:pos x="connsiteX3" y="connsiteY3"/>
              </a:cxn>
            </a:cxnLst>
            <a:rect l="l" t="t" r="r" b="b"/>
            <a:pathLst>
              <a:path w="1595303" h="2566593">
                <a:moveTo>
                  <a:pt x="0" y="1929410"/>
                </a:moveTo>
                <a:lnTo>
                  <a:pt x="770630" y="0"/>
                </a:lnTo>
                <a:lnTo>
                  <a:pt x="1595303" y="0"/>
                </a:lnTo>
                <a:lnTo>
                  <a:pt x="1595303" y="2566593"/>
                </a:lnTo>
                <a:close/>
              </a:path>
            </a:pathLst>
          </a:custGeom>
          <a:effectLst>
            <a:outerShdw blurRad="406400" dist="114300" dir="6420000" sx="89000" sy="89000" algn="t" rotWithShape="0">
              <a:srgbClr val="EE9012">
                <a:alpha val="62000"/>
              </a:srgbClr>
            </a:outerShdw>
          </a:effectLst>
        </p:spPr>
      </p:pic>
      <p:sp>
        <p:nvSpPr>
          <p:cNvPr id="22" name="Google Shape;2833;p57">
            <a:extLst>
              <a:ext uri="{FF2B5EF4-FFF2-40B4-BE49-F238E27FC236}">
                <a16:creationId xmlns:a16="http://schemas.microsoft.com/office/drawing/2014/main" id="{CC1F1192-BFBB-DD0E-94A4-840BCC29620B}"/>
              </a:ext>
            </a:extLst>
          </p:cNvPr>
          <p:cNvSpPr/>
          <p:nvPr/>
        </p:nvSpPr>
        <p:spPr>
          <a:xfrm>
            <a:off x="1753416" y="2886352"/>
            <a:ext cx="329428" cy="329428"/>
          </a:xfrm>
          <a:prstGeom prst="ellipse">
            <a:avLst/>
          </a:prstGeom>
          <a:solidFill>
            <a:schemeClr val="accent6"/>
          </a:solidFill>
          <a:ln w="19050" cap="flat" cmpd="sng">
            <a:solidFill>
              <a:schemeClr val="lt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2833;p57">
            <a:extLst>
              <a:ext uri="{FF2B5EF4-FFF2-40B4-BE49-F238E27FC236}">
                <a16:creationId xmlns:a16="http://schemas.microsoft.com/office/drawing/2014/main" id="{C6367576-8515-FCB9-C058-DF81AFCF31B5}"/>
              </a:ext>
            </a:extLst>
          </p:cNvPr>
          <p:cNvSpPr/>
          <p:nvPr/>
        </p:nvSpPr>
        <p:spPr>
          <a:xfrm>
            <a:off x="1753117" y="3664885"/>
            <a:ext cx="329428" cy="329428"/>
          </a:xfrm>
          <a:prstGeom prst="ellipse">
            <a:avLst/>
          </a:prstGeom>
          <a:solidFill>
            <a:schemeClr val="accent6"/>
          </a:solidFill>
          <a:ln w="19050" cap="flat" cmpd="sng">
            <a:solidFill>
              <a:schemeClr val="lt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2833;p57">
            <a:extLst>
              <a:ext uri="{FF2B5EF4-FFF2-40B4-BE49-F238E27FC236}">
                <a16:creationId xmlns:a16="http://schemas.microsoft.com/office/drawing/2014/main" id="{7589E689-9D92-849E-0762-725DE62E0A5B}"/>
              </a:ext>
            </a:extLst>
          </p:cNvPr>
          <p:cNvSpPr/>
          <p:nvPr/>
        </p:nvSpPr>
        <p:spPr>
          <a:xfrm>
            <a:off x="1686036" y="4778552"/>
            <a:ext cx="329428" cy="329428"/>
          </a:xfrm>
          <a:prstGeom prst="ellipse">
            <a:avLst/>
          </a:prstGeom>
          <a:solidFill>
            <a:schemeClr val="accent6"/>
          </a:solidFill>
          <a:ln w="19050" cap="flat" cmpd="sng">
            <a:solidFill>
              <a:schemeClr val="lt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2833;p57">
            <a:extLst>
              <a:ext uri="{FF2B5EF4-FFF2-40B4-BE49-F238E27FC236}">
                <a16:creationId xmlns:a16="http://schemas.microsoft.com/office/drawing/2014/main" id="{119D8CCC-CFA1-95C5-4600-BC66AE95D3BE}"/>
              </a:ext>
            </a:extLst>
          </p:cNvPr>
          <p:cNvSpPr/>
          <p:nvPr/>
        </p:nvSpPr>
        <p:spPr>
          <a:xfrm>
            <a:off x="1686036" y="6053319"/>
            <a:ext cx="329428" cy="329428"/>
          </a:xfrm>
          <a:prstGeom prst="ellipse">
            <a:avLst/>
          </a:prstGeom>
          <a:solidFill>
            <a:schemeClr val="accent6"/>
          </a:solidFill>
          <a:ln w="19050" cap="flat" cmpd="sng">
            <a:solidFill>
              <a:schemeClr val="lt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pic>
        <p:nvPicPr>
          <p:cNvPr id="21" name="Picture 20"/>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6785" y="19906"/>
            <a:ext cx="2592036" cy="1638311"/>
          </a:xfrm>
          <a:prstGeom prst="rect">
            <a:avLst/>
          </a:prstGeom>
          <a:noFill/>
          <a:ln>
            <a:noFill/>
          </a:ln>
        </p:spPr>
      </p:pic>
      <p:pic>
        <p:nvPicPr>
          <p:cNvPr id="16386" name="Picture 2" descr="C:\Users\HP\Desktop\Screenshot_20231229-213319.png"/>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901544" y="-1"/>
            <a:ext cx="6313714" cy="685800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6202420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Picture Placeholder 9"/>
          <p:cNvSpPr>
            <a:spLocks noGrp="1"/>
          </p:cNvSpPr>
          <p:nvPr>
            <p:ph type="pic" sz="quarter" idx="10"/>
          </p:nvPr>
        </p:nvSpPr>
        <p:spPr>
          <a:xfrm>
            <a:off x="-108284" y="149893"/>
            <a:ext cx="12192000" cy="6858000"/>
          </a:xfrm>
        </p:spPr>
        <p:txBody>
          <a:bodyPr/>
          <a:lstStyle/>
          <a:p>
            <a:endParaRPr lang="en-US"/>
          </a:p>
        </p:txBody>
      </p:sp>
      <p:sp>
        <p:nvSpPr>
          <p:cNvPr id="6" name="Title 5"/>
          <p:cNvSpPr>
            <a:spLocks noGrp="1"/>
          </p:cNvSpPr>
          <p:nvPr>
            <p:ph type="title" idx="4294967295"/>
          </p:nvPr>
        </p:nvSpPr>
        <p:spPr>
          <a:xfrm>
            <a:off x="0" y="901700"/>
            <a:ext cx="10515600" cy="788988"/>
          </a:xfrm>
          <a:solidFill>
            <a:srgbClr val="FFCF01"/>
          </a:solidFill>
        </p:spPr>
        <p:txBody>
          <a:bodyPr/>
          <a:lstStyle/>
          <a:p>
            <a:r>
              <a:rPr lang="en-US" dirty="0">
                <a:latin typeface="Roboto Condensed"/>
              </a:rPr>
              <a:t>13 facts about Zambia</a:t>
            </a:r>
          </a:p>
        </p:txBody>
      </p:sp>
      <p:sp>
        <p:nvSpPr>
          <p:cNvPr id="7" name="Content Placeholder 6"/>
          <p:cNvSpPr>
            <a:spLocks noGrp="1"/>
          </p:cNvSpPr>
          <p:nvPr>
            <p:ph idx="4294967295"/>
          </p:nvPr>
        </p:nvSpPr>
        <p:spPr>
          <a:xfrm>
            <a:off x="0" y="1825624"/>
            <a:ext cx="11778916" cy="4912059"/>
          </a:xfrm>
          <a:solidFill>
            <a:srgbClr val="00B050"/>
          </a:solidFill>
        </p:spPr>
        <p:txBody>
          <a:bodyPr>
            <a:normAutofit fontScale="85000" lnSpcReduction="20000"/>
          </a:bodyPr>
          <a:lstStyle/>
          <a:p>
            <a:r>
              <a:rPr lang="en-US" sz="2600" dirty="0">
                <a:latin typeface="Roboto Condensed"/>
              </a:rPr>
              <a:t>1. World’s largest Mammal Migration (</a:t>
            </a:r>
            <a:r>
              <a:rPr lang="en-US" sz="2600" dirty="0" err="1">
                <a:latin typeface="Roboto Condensed"/>
              </a:rPr>
              <a:t>Kasanka</a:t>
            </a:r>
            <a:r>
              <a:rPr lang="en-US" sz="2600" dirty="0">
                <a:latin typeface="Roboto Condensed"/>
              </a:rPr>
              <a:t>)</a:t>
            </a:r>
          </a:p>
          <a:p>
            <a:r>
              <a:rPr lang="en-US" sz="2600" dirty="0">
                <a:latin typeface="Roboto Condensed"/>
              </a:rPr>
              <a:t>2. World’s largest Man made lake (</a:t>
            </a:r>
            <a:r>
              <a:rPr lang="en-US" sz="2600" dirty="0" err="1">
                <a:latin typeface="Roboto Condensed"/>
              </a:rPr>
              <a:t>Kariba</a:t>
            </a:r>
            <a:r>
              <a:rPr lang="en-US" sz="2600" dirty="0">
                <a:latin typeface="Roboto Condensed"/>
              </a:rPr>
              <a:t>)</a:t>
            </a:r>
          </a:p>
          <a:p>
            <a:r>
              <a:rPr lang="en-US" sz="2600" dirty="0">
                <a:latin typeface="Roboto Condensed"/>
              </a:rPr>
              <a:t>3. World’s largest Emerald Mine</a:t>
            </a:r>
          </a:p>
          <a:p>
            <a:r>
              <a:rPr lang="en-US" sz="2600" dirty="0">
                <a:latin typeface="Roboto Condensed"/>
              </a:rPr>
              <a:t>4. World’s second largest </a:t>
            </a:r>
            <a:r>
              <a:rPr lang="en-US" sz="2600" dirty="0" err="1">
                <a:latin typeface="Roboto Condensed"/>
              </a:rPr>
              <a:t>Wildbeest</a:t>
            </a:r>
            <a:r>
              <a:rPr lang="en-US" sz="2600" dirty="0">
                <a:latin typeface="Roboto Condensed"/>
              </a:rPr>
              <a:t> Migration (</a:t>
            </a:r>
            <a:r>
              <a:rPr lang="en-US" sz="2600" dirty="0" err="1">
                <a:latin typeface="Roboto Condensed"/>
              </a:rPr>
              <a:t>Liuwa</a:t>
            </a:r>
            <a:r>
              <a:rPr lang="en-US" sz="2600" dirty="0">
                <a:latin typeface="Roboto Condensed"/>
              </a:rPr>
              <a:t>)</a:t>
            </a:r>
          </a:p>
          <a:p>
            <a:r>
              <a:rPr lang="en-US" sz="2600" dirty="0">
                <a:latin typeface="Roboto Condensed"/>
              </a:rPr>
              <a:t>5. Africa’s Second largest National Park (Kafue)</a:t>
            </a:r>
          </a:p>
          <a:p>
            <a:r>
              <a:rPr lang="en-US" sz="2600" dirty="0">
                <a:latin typeface="Roboto Condensed"/>
              </a:rPr>
              <a:t>6. Africa’s Second Deepest River (</a:t>
            </a:r>
            <a:r>
              <a:rPr lang="en-US" sz="2600" dirty="0" err="1">
                <a:latin typeface="Roboto Condensed"/>
              </a:rPr>
              <a:t>Kabompo</a:t>
            </a:r>
            <a:r>
              <a:rPr lang="en-US" sz="2600" dirty="0">
                <a:latin typeface="Roboto Condensed"/>
              </a:rPr>
              <a:t>)</a:t>
            </a:r>
          </a:p>
          <a:p>
            <a:r>
              <a:rPr lang="en-US" sz="2600" dirty="0">
                <a:latin typeface="Roboto Condensed"/>
              </a:rPr>
              <a:t>7. World’s largest Water Falls (</a:t>
            </a:r>
            <a:r>
              <a:rPr lang="en-US" sz="2600" dirty="0" err="1">
                <a:latin typeface="Roboto Condensed"/>
              </a:rPr>
              <a:t>Musi</a:t>
            </a:r>
            <a:r>
              <a:rPr lang="en-US" sz="2600" dirty="0">
                <a:latin typeface="Roboto Condensed"/>
              </a:rPr>
              <a:t> </a:t>
            </a:r>
            <a:r>
              <a:rPr lang="en-US" sz="2600" dirty="0" err="1">
                <a:latin typeface="Roboto Condensed"/>
              </a:rPr>
              <a:t>Oa</a:t>
            </a:r>
            <a:r>
              <a:rPr lang="en-US" sz="2600" dirty="0">
                <a:latin typeface="Roboto Condensed"/>
              </a:rPr>
              <a:t> </a:t>
            </a:r>
            <a:r>
              <a:rPr lang="en-US" sz="2600" dirty="0" err="1">
                <a:latin typeface="Roboto Condensed"/>
              </a:rPr>
              <a:t>Tunya</a:t>
            </a:r>
            <a:r>
              <a:rPr lang="en-US" sz="2600" dirty="0">
                <a:latin typeface="Roboto Condensed"/>
              </a:rPr>
              <a:t>)</a:t>
            </a:r>
          </a:p>
          <a:p>
            <a:r>
              <a:rPr lang="en-US" sz="2600" dirty="0">
                <a:latin typeface="Roboto Condensed"/>
              </a:rPr>
              <a:t>8. World’s largest Concentration of Hippos</a:t>
            </a:r>
          </a:p>
          <a:p>
            <a:r>
              <a:rPr lang="en-US" sz="2600" dirty="0">
                <a:latin typeface="Roboto Condensed"/>
              </a:rPr>
              <a:t>9. World’s only point where 4 countries meet (</a:t>
            </a:r>
            <a:r>
              <a:rPr lang="en-US" sz="2600" dirty="0" err="1">
                <a:latin typeface="Roboto Condensed"/>
              </a:rPr>
              <a:t>Kazungula</a:t>
            </a:r>
            <a:r>
              <a:rPr lang="en-US" sz="2600" dirty="0">
                <a:latin typeface="Roboto Condensed"/>
              </a:rPr>
              <a:t>)</a:t>
            </a:r>
          </a:p>
          <a:p>
            <a:r>
              <a:rPr lang="en-US" sz="2600" dirty="0">
                <a:latin typeface="Roboto Condensed"/>
              </a:rPr>
              <a:t>10. One of the World’s Natural 7 wonders (Victoria Falls)</a:t>
            </a:r>
          </a:p>
          <a:p>
            <a:r>
              <a:rPr lang="en-US" sz="2600" dirty="0">
                <a:latin typeface="Roboto Condensed"/>
              </a:rPr>
              <a:t>11. World’s second Deepest fresh water lake by Volume (Tanganyika)</a:t>
            </a:r>
          </a:p>
          <a:p>
            <a:r>
              <a:rPr lang="en-US" sz="2600" dirty="0">
                <a:latin typeface="Roboto Condensed"/>
              </a:rPr>
              <a:t>12.Second largest Copper producer in Africa</a:t>
            </a:r>
          </a:p>
          <a:p>
            <a:r>
              <a:rPr lang="en-US" sz="2600" dirty="0">
                <a:latin typeface="Roboto Condensed"/>
              </a:rPr>
              <a:t>13. Zambia boasts 20 national parks and reserves, 34 management areas and protects over 30% of its land.</a:t>
            </a:r>
          </a:p>
          <a:p>
            <a:endParaRPr lang="en-US" dirty="0"/>
          </a:p>
        </p:txBody>
      </p:sp>
      <p:pic>
        <p:nvPicPr>
          <p:cNvPr id="8" name="Picture 7"/>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0659979" y="149893"/>
            <a:ext cx="1287379" cy="836696"/>
          </a:xfrm>
          <a:prstGeom prst="rect">
            <a:avLst/>
          </a:prstGeom>
          <a:noFill/>
          <a:ln>
            <a:noFill/>
          </a:ln>
        </p:spPr>
      </p:pic>
      <p:pic>
        <p:nvPicPr>
          <p:cNvPr id="9" name="Picture 8"/>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68442" y="149893"/>
            <a:ext cx="1455821" cy="836696"/>
          </a:xfrm>
          <a:prstGeom prst="rect">
            <a:avLst/>
          </a:prstGeom>
          <a:noFill/>
          <a:ln>
            <a:noFill/>
          </a:ln>
        </p:spPr>
      </p:pic>
    </p:spTree>
    <p:extLst>
      <p:ext uri="{BB962C8B-B14F-4D97-AF65-F5344CB8AC3E}">
        <p14:creationId xmlns:p14="http://schemas.microsoft.com/office/powerpoint/2010/main" val="49950011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4" name="Rectangle: Rounded Corners 93">
            <a:extLst>
              <a:ext uri="{FF2B5EF4-FFF2-40B4-BE49-F238E27FC236}">
                <a16:creationId xmlns:a16="http://schemas.microsoft.com/office/drawing/2014/main" id="{7FF6FAD9-8197-47E3-94C8-E50EB487C9B9}"/>
              </a:ext>
            </a:extLst>
          </p:cNvPr>
          <p:cNvSpPr/>
          <p:nvPr/>
        </p:nvSpPr>
        <p:spPr>
          <a:xfrm>
            <a:off x="132347" y="2242179"/>
            <a:ext cx="3046787" cy="4020290"/>
          </a:xfrm>
          <a:prstGeom prst="roundRect">
            <a:avLst>
              <a:gd name="adj" fmla="val 7453"/>
            </a:avLst>
          </a:prstGeom>
          <a:solidFill>
            <a:srgbClr val="FFCF01"/>
          </a:solidFill>
          <a:ln>
            <a:noFill/>
          </a:ln>
          <a:effectLst>
            <a:outerShdw blurRad="444500" dist="698500" dir="5400000" sx="86000" sy="86000" algn="t" rotWithShape="0">
              <a:schemeClr val="bg2">
                <a:lumMod val="50000"/>
                <a:alpha val="4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dirty="0"/>
          </a:p>
        </p:txBody>
      </p:sp>
      <p:sp>
        <p:nvSpPr>
          <p:cNvPr id="86" name="Rectangle: Rounded Corners 85">
            <a:extLst>
              <a:ext uri="{FF2B5EF4-FFF2-40B4-BE49-F238E27FC236}">
                <a16:creationId xmlns:a16="http://schemas.microsoft.com/office/drawing/2014/main" id="{D73C3174-2FC0-47CA-A124-0787A46E1E17}"/>
              </a:ext>
            </a:extLst>
          </p:cNvPr>
          <p:cNvSpPr/>
          <p:nvPr/>
        </p:nvSpPr>
        <p:spPr>
          <a:xfrm>
            <a:off x="3367932" y="2411808"/>
            <a:ext cx="2986415" cy="3850661"/>
          </a:xfrm>
          <a:prstGeom prst="roundRect">
            <a:avLst>
              <a:gd name="adj" fmla="val 7453"/>
            </a:avLst>
          </a:prstGeom>
          <a:solidFill>
            <a:srgbClr val="FFCF01"/>
          </a:solidFill>
          <a:ln>
            <a:noFill/>
          </a:ln>
          <a:effectLst>
            <a:outerShdw blurRad="444500" dist="698500" dir="5400000" sx="86000" sy="86000" algn="t" rotWithShape="0">
              <a:schemeClr val="bg2">
                <a:lumMod val="50000"/>
                <a:alpha val="4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dirty="0"/>
          </a:p>
        </p:txBody>
      </p:sp>
      <p:sp>
        <p:nvSpPr>
          <p:cNvPr id="151" name="Rectangle: Rounded Corners 150">
            <a:extLst>
              <a:ext uri="{FF2B5EF4-FFF2-40B4-BE49-F238E27FC236}">
                <a16:creationId xmlns:a16="http://schemas.microsoft.com/office/drawing/2014/main" id="{C4A9673E-15C7-4F00-B76E-27F0B7E9428F}"/>
              </a:ext>
            </a:extLst>
          </p:cNvPr>
          <p:cNvSpPr/>
          <p:nvPr/>
        </p:nvSpPr>
        <p:spPr>
          <a:xfrm>
            <a:off x="6359952" y="2350877"/>
            <a:ext cx="5621849" cy="3774938"/>
          </a:xfrm>
          <a:prstGeom prst="roundRect">
            <a:avLst>
              <a:gd name="adj" fmla="val 7453"/>
            </a:avLst>
          </a:prstGeom>
          <a:solidFill>
            <a:srgbClr val="FFCF01"/>
          </a:solidFill>
          <a:ln>
            <a:noFill/>
          </a:ln>
          <a:effectLst>
            <a:outerShdw blurRad="444500" dist="698500" dir="5400000" sx="86000" sy="86000" algn="t" rotWithShape="0">
              <a:schemeClr val="bg2">
                <a:lumMod val="50000"/>
                <a:alpha val="4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dirty="0"/>
          </a:p>
        </p:txBody>
      </p:sp>
      <p:sp>
        <p:nvSpPr>
          <p:cNvPr id="152" name="TextBox 151">
            <a:extLst>
              <a:ext uri="{FF2B5EF4-FFF2-40B4-BE49-F238E27FC236}">
                <a16:creationId xmlns:a16="http://schemas.microsoft.com/office/drawing/2014/main" id="{AFBD1BFA-C4E5-4E29-AFEB-04F47C3768FE}"/>
              </a:ext>
            </a:extLst>
          </p:cNvPr>
          <p:cNvSpPr txBox="1"/>
          <p:nvPr/>
        </p:nvSpPr>
        <p:spPr>
          <a:xfrm>
            <a:off x="6354348" y="3027938"/>
            <a:ext cx="5582956" cy="3693319"/>
          </a:xfrm>
          <a:prstGeom prst="rect">
            <a:avLst/>
          </a:prstGeom>
          <a:solidFill>
            <a:srgbClr val="FFCF01"/>
          </a:solidFill>
        </p:spPr>
        <p:txBody>
          <a:bodyPr wrap="square" rtlCol="0">
            <a:spAutoFit/>
          </a:bodyPr>
          <a:lstStyle/>
          <a:p>
            <a:r>
              <a:rPr lang="en-GB" dirty="0">
                <a:latin typeface="PT Sans" panose="020B0503020203020204" pitchFamily="34" charset="0"/>
              </a:rPr>
              <a:t>1. </a:t>
            </a:r>
            <a:r>
              <a:rPr lang="en-US" dirty="0">
                <a:latin typeface="Roboto Condensed"/>
              </a:rPr>
              <a:t>Political stability since attaining independence in 1964 </a:t>
            </a:r>
          </a:p>
          <a:p>
            <a:r>
              <a:rPr lang="en-US" dirty="0">
                <a:latin typeface="Roboto Condensed"/>
              </a:rPr>
              <a:t>2. One of Africa's most peaceful, tolerant and democratic states with extremely low levels of crime. </a:t>
            </a:r>
          </a:p>
          <a:p>
            <a:r>
              <a:rPr lang="en-US" dirty="0">
                <a:latin typeface="Roboto Condensed"/>
              </a:rPr>
              <a:t>3. Democratic government and sound governance structures based on the rule of law and respect for private property. Elected government officials, Parliamentary system. </a:t>
            </a:r>
          </a:p>
          <a:p>
            <a:r>
              <a:rPr lang="en-US" dirty="0">
                <a:latin typeface="Roboto Condensed"/>
              </a:rPr>
              <a:t>4. Independent judiciary with established court systems with separate commercial courts </a:t>
            </a:r>
          </a:p>
          <a:p>
            <a:r>
              <a:rPr lang="en-US" dirty="0">
                <a:latin typeface="Roboto Condensed"/>
              </a:rPr>
              <a:t>5. Strong anti-corruption measures have been instituted </a:t>
            </a:r>
          </a:p>
          <a:p>
            <a:pPr algn="ctr"/>
            <a:endParaRPr lang="en-GB" sz="1800" b="1" dirty="0">
              <a:latin typeface="PT Sans" panose="020B0503020203020204" pitchFamily="34" charset="0"/>
            </a:endParaRPr>
          </a:p>
        </p:txBody>
      </p:sp>
      <p:sp>
        <p:nvSpPr>
          <p:cNvPr id="32" name="Rectangle 31">
            <a:extLst>
              <a:ext uri="{FF2B5EF4-FFF2-40B4-BE49-F238E27FC236}">
                <a16:creationId xmlns:a16="http://schemas.microsoft.com/office/drawing/2014/main" id="{98C22CEC-9752-4DCF-ADAA-79F2A959B184}"/>
              </a:ext>
            </a:extLst>
          </p:cNvPr>
          <p:cNvSpPr/>
          <p:nvPr/>
        </p:nvSpPr>
        <p:spPr>
          <a:xfrm flipV="1">
            <a:off x="3356356" y="1121568"/>
            <a:ext cx="3072724" cy="407267"/>
          </a:xfrm>
          <a:prstGeom prst="rect">
            <a:avLst/>
          </a:prstGeom>
          <a:solidFill>
            <a:srgbClr val="FFCF01">
              <a:alpha val="9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p>
        </p:txBody>
      </p:sp>
      <p:sp>
        <p:nvSpPr>
          <p:cNvPr id="5" name="TextBox 4">
            <a:extLst>
              <a:ext uri="{FF2B5EF4-FFF2-40B4-BE49-F238E27FC236}">
                <a16:creationId xmlns:a16="http://schemas.microsoft.com/office/drawing/2014/main" id="{317F9BEA-F15C-456E-B8CC-0410D9129353}"/>
              </a:ext>
            </a:extLst>
          </p:cNvPr>
          <p:cNvSpPr txBox="1"/>
          <p:nvPr/>
        </p:nvSpPr>
        <p:spPr>
          <a:xfrm>
            <a:off x="3179134" y="1120163"/>
            <a:ext cx="4105209" cy="437043"/>
          </a:xfrm>
          <a:prstGeom prst="rect">
            <a:avLst/>
          </a:prstGeom>
          <a:solidFill>
            <a:srgbClr val="00B050"/>
          </a:solidFill>
        </p:spPr>
        <p:txBody>
          <a:bodyPr wrap="square" rtlCol="0">
            <a:spAutoFit/>
          </a:bodyPr>
          <a:lstStyle/>
          <a:p>
            <a:pPr algn="ctr">
              <a:lnSpc>
                <a:spcPct val="80000"/>
              </a:lnSpc>
            </a:pPr>
            <a:r>
              <a:rPr lang="en-US" sz="2800" i="0" dirty="0">
                <a:solidFill>
                  <a:schemeClr val="tx1">
                    <a:lumMod val="85000"/>
                    <a:lumOff val="15000"/>
                  </a:schemeClr>
                </a:solidFill>
                <a:effectLst/>
                <a:latin typeface="Roboto Condensed bold" panose="02000000000000000000" pitchFamily="2" charset="0"/>
                <a:ea typeface="Roboto Condensed bold" panose="02000000000000000000" pitchFamily="2" charset="0"/>
                <a:cs typeface="Heebo" panose="020B0604020202020204" pitchFamily="2" charset="-79"/>
              </a:rPr>
              <a:t>WHY ZAMBIA?</a:t>
            </a:r>
            <a:endParaRPr lang="en-ID" sz="2800" dirty="0">
              <a:solidFill>
                <a:schemeClr val="tx1">
                  <a:lumMod val="85000"/>
                  <a:lumOff val="15000"/>
                </a:schemeClr>
              </a:solidFill>
              <a:latin typeface="Roboto Condensed bold" panose="02000000000000000000" pitchFamily="2" charset="0"/>
              <a:ea typeface="Roboto Condensed bold" panose="02000000000000000000" pitchFamily="2" charset="0"/>
            </a:endParaRPr>
          </a:p>
        </p:txBody>
      </p:sp>
      <p:sp>
        <p:nvSpPr>
          <p:cNvPr id="85" name="TextBox 84">
            <a:extLst>
              <a:ext uri="{FF2B5EF4-FFF2-40B4-BE49-F238E27FC236}">
                <a16:creationId xmlns:a16="http://schemas.microsoft.com/office/drawing/2014/main" id="{88DC0F94-FF05-440C-B547-1D9353F1C7B6}"/>
              </a:ext>
            </a:extLst>
          </p:cNvPr>
          <p:cNvSpPr txBox="1"/>
          <p:nvPr/>
        </p:nvSpPr>
        <p:spPr>
          <a:xfrm>
            <a:off x="6404451" y="2535543"/>
            <a:ext cx="5577351" cy="369332"/>
          </a:xfrm>
          <a:prstGeom prst="rect">
            <a:avLst/>
          </a:prstGeom>
          <a:solidFill>
            <a:srgbClr val="FFCF01"/>
          </a:solidFill>
        </p:spPr>
        <p:txBody>
          <a:bodyPr wrap="square" rtlCol="0">
            <a:spAutoFit/>
          </a:bodyPr>
          <a:lstStyle/>
          <a:p>
            <a:pPr algn="ctr"/>
            <a:r>
              <a:rPr lang="en-GB" b="1" dirty="0">
                <a:latin typeface="PT Sans"/>
                <a:ea typeface="Roboto Condensed" pitchFamily="2" charset="0"/>
              </a:rPr>
              <a:t>STABLE GOVERNANCE</a:t>
            </a:r>
          </a:p>
        </p:txBody>
      </p:sp>
      <p:sp>
        <p:nvSpPr>
          <p:cNvPr id="89" name="TextBox 88">
            <a:extLst>
              <a:ext uri="{FF2B5EF4-FFF2-40B4-BE49-F238E27FC236}">
                <a16:creationId xmlns:a16="http://schemas.microsoft.com/office/drawing/2014/main" id="{B0359789-52FC-473D-9B89-A29632280E65}"/>
              </a:ext>
            </a:extLst>
          </p:cNvPr>
          <p:cNvSpPr txBox="1"/>
          <p:nvPr/>
        </p:nvSpPr>
        <p:spPr>
          <a:xfrm>
            <a:off x="3453062" y="3152274"/>
            <a:ext cx="2650149" cy="3139321"/>
          </a:xfrm>
          <a:prstGeom prst="rect">
            <a:avLst/>
          </a:prstGeom>
          <a:solidFill>
            <a:srgbClr val="FFCF01"/>
          </a:solidFill>
        </p:spPr>
        <p:txBody>
          <a:bodyPr wrap="square" rtlCol="0">
            <a:spAutoFit/>
          </a:bodyPr>
          <a:lstStyle/>
          <a:p>
            <a:r>
              <a:rPr lang="en-US" dirty="0">
                <a:latin typeface="Roboto Condensed"/>
                <a:ea typeface="Roboto Condensed" pitchFamily="2" charset="0"/>
              </a:rPr>
              <a:t>The government has made investment environment more transparent and accountable and anchored on consistent investment policies that ensure protection of private investment rights, zero tolerance to corruption.</a:t>
            </a:r>
            <a:endParaRPr lang="en-GB" dirty="0">
              <a:latin typeface="Roboto Condensed"/>
              <a:ea typeface="Roboto Condensed" pitchFamily="2" charset="0"/>
            </a:endParaRPr>
          </a:p>
        </p:txBody>
      </p:sp>
      <p:sp>
        <p:nvSpPr>
          <p:cNvPr id="95" name="TextBox 94">
            <a:extLst>
              <a:ext uri="{FF2B5EF4-FFF2-40B4-BE49-F238E27FC236}">
                <a16:creationId xmlns:a16="http://schemas.microsoft.com/office/drawing/2014/main" id="{8C19C903-587E-4DFF-84E0-C207887500C8}"/>
              </a:ext>
            </a:extLst>
          </p:cNvPr>
          <p:cNvSpPr txBox="1"/>
          <p:nvPr/>
        </p:nvSpPr>
        <p:spPr>
          <a:xfrm>
            <a:off x="132346" y="2227142"/>
            <a:ext cx="3046787" cy="369332"/>
          </a:xfrm>
          <a:prstGeom prst="rect">
            <a:avLst/>
          </a:prstGeom>
          <a:solidFill>
            <a:srgbClr val="FDD425"/>
          </a:solidFill>
        </p:spPr>
        <p:txBody>
          <a:bodyPr wrap="square" rtlCol="0">
            <a:spAutoFit/>
          </a:bodyPr>
          <a:lstStyle/>
          <a:p>
            <a:pPr algn="ctr"/>
            <a:r>
              <a:rPr lang="en-GB" sz="1800" b="1" cap="all" dirty="0">
                <a:latin typeface="PT Sans" panose="020B0503020203020204" pitchFamily="34" charset="0"/>
              </a:rPr>
              <a:t>Resource</a:t>
            </a:r>
            <a:r>
              <a:rPr lang="en-GB" sz="1800" b="1" dirty="0">
                <a:latin typeface="PT Sans" panose="020B0503020203020204" pitchFamily="34" charset="0"/>
              </a:rPr>
              <a:t> ENDOWED </a:t>
            </a:r>
          </a:p>
        </p:txBody>
      </p:sp>
      <p:sp>
        <p:nvSpPr>
          <p:cNvPr id="97" name="TextBox 96">
            <a:extLst>
              <a:ext uri="{FF2B5EF4-FFF2-40B4-BE49-F238E27FC236}">
                <a16:creationId xmlns:a16="http://schemas.microsoft.com/office/drawing/2014/main" id="{3C446FF2-C53F-4905-B587-33964F70D124}"/>
              </a:ext>
            </a:extLst>
          </p:cNvPr>
          <p:cNvSpPr txBox="1"/>
          <p:nvPr/>
        </p:nvSpPr>
        <p:spPr>
          <a:xfrm>
            <a:off x="70892" y="2752694"/>
            <a:ext cx="3285464" cy="3970318"/>
          </a:xfrm>
          <a:prstGeom prst="rect">
            <a:avLst/>
          </a:prstGeom>
          <a:solidFill>
            <a:srgbClr val="FFCF01"/>
          </a:solidFill>
        </p:spPr>
        <p:txBody>
          <a:bodyPr wrap="square" rtlCol="0">
            <a:spAutoFit/>
          </a:bodyPr>
          <a:lstStyle/>
          <a:p>
            <a:r>
              <a:rPr lang="en-US" dirty="0">
                <a:latin typeface="Roboto Condensed"/>
              </a:rPr>
              <a:t>Zambia's economy has historically been based on the Copper Mining Industry.</a:t>
            </a:r>
          </a:p>
          <a:p>
            <a:r>
              <a:rPr lang="en-US" dirty="0">
                <a:latin typeface="Roboto Condensed"/>
              </a:rPr>
              <a:t>Zambian Government is undertaking economic diversification to reduce the country's reliance on the Copper Industry and exploit other components of Zambia's rich resource base by promoting Agriculture, Tourism, Gemstone Mining, Solar Energy, Thermal power and Hydro Power generation.</a:t>
            </a:r>
            <a:endParaRPr lang="en-GB" dirty="0">
              <a:latin typeface="Roboto Condensed"/>
              <a:ea typeface="Roboto Condensed" pitchFamily="2" charset="0"/>
            </a:endParaRPr>
          </a:p>
        </p:txBody>
      </p:sp>
      <p:pic>
        <p:nvPicPr>
          <p:cNvPr id="3" name="Picture 2" descr="A white text on a black background&#10;&#10;Description automatically generated with medium confidence">
            <a:extLst>
              <a:ext uri="{FF2B5EF4-FFF2-40B4-BE49-F238E27FC236}">
                <a16:creationId xmlns:a16="http://schemas.microsoft.com/office/drawing/2014/main" id="{E9A7BC47-1601-7E38-53F1-7EFB0A4F2136}"/>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43264" y="152269"/>
            <a:ext cx="1305248" cy="749373"/>
          </a:xfrm>
          <a:prstGeom prst="rect">
            <a:avLst/>
          </a:prstGeom>
        </p:spPr>
      </p:pic>
      <p:pic>
        <p:nvPicPr>
          <p:cNvPr id="21" name="Picture 20"/>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32347" y="152268"/>
            <a:ext cx="2723795" cy="1953257"/>
          </a:xfrm>
          <a:prstGeom prst="rect">
            <a:avLst/>
          </a:prstGeom>
          <a:noFill/>
          <a:ln>
            <a:noFill/>
          </a:ln>
        </p:spPr>
      </p:pic>
      <p:sp>
        <p:nvSpPr>
          <p:cNvPr id="7" name="Rectangle 6"/>
          <p:cNvSpPr/>
          <p:nvPr/>
        </p:nvSpPr>
        <p:spPr>
          <a:xfrm>
            <a:off x="3356356" y="2658606"/>
            <a:ext cx="3048095" cy="646331"/>
          </a:xfrm>
          <a:prstGeom prst="rect">
            <a:avLst/>
          </a:prstGeom>
        </p:spPr>
        <p:txBody>
          <a:bodyPr wrap="square">
            <a:spAutoFit/>
          </a:bodyPr>
          <a:lstStyle/>
          <a:p>
            <a:r>
              <a:rPr lang="en-GB" b="1" dirty="0">
                <a:latin typeface="PT Sans" panose="020B0503020203020204" pitchFamily="34" charset="0"/>
              </a:rPr>
              <a:t>ZAMBIA IS READY FOR BUSINESS</a:t>
            </a:r>
            <a:endParaRPr lang="en-US" dirty="0"/>
          </a:p>
        </p:txBody>
      </p:sp>
    </p:spTree>
    <p:extLst>
      <p:ext uri="{BB962C8B-B14F-4D97-AF65-F5344CB8AC3E}">
        <p14:creationId xmlns:p14="http://schemas.microsoft.com/office/powerpoint/2010/main" val="343849004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4" name="Rectangle: Rounded Corners 93">
            <a:extLst>
              <a:ext uri="{FF2B5EF4-FFF2-40B4-BE49-F238E27FC236}">
                <a16:creationId xmlns:a16="http://schemas.microsoft.com/office/drawing/2014/main" id="{7FF6FAD9-8197-47E3-94C8-E50EB487C9B9}"/>
              </a:ext>
            </a:extLst>
          </p:cNvPr>
          <p:cNvSpPr/>
          <p:nvPr/>
        </p:nvSpPr>
        <p:spPr>
          <a:xfrm>
            <a:off x="70892" y="2242179"/>
            <a:ext cx="3108242" cy="4601612"/>
          </a:xfrm>
          <a:prstGeom prst="roundRect">
            <a:avLst>
              <a:gd name="adj" fmla="val 7453"/>
            </a:avLst>
          </a:prstGeom>
          <a:solidFill>
            <a:srgbClr val="FFCF01"/>
          </a:solidFill>
          <a:ln>
            <a:noFill/>
          </a:ln>
          <a:effectLst>
            <a:outerShdw blurRad="444500" dist="698500" dir="5400000" sx="86000" sy="86000" algn="t" rotWithShape="0">
              <a:schemeClr val="bg2">
                <a:lumMod val="50000"/>
                <a:alpha val="4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dirty="0"/>
          </a:p>
        </p:txBody>
      </p:sp>
      <p:sp>
        <p:nvSpPr>
          <p:cNvPr id="86" name="Rectangle: Rounded Corners 85">
            <a:extLst>
              <a:ext uri="{FF2B5EF4-FFF2-40B4-BE49-F238E27FC236}">
                <a16:creationId xmlns:a16="http://schemas.microsoft.com/office/drawing/2014/main" id="{D73C3174-2FC0-47CA-A124-0787A46E1E17}"/>
              </a:ext>
            </a:extLst>
          </p:cNvPr>
          <p:cNvSpPr/>
          <p:nvPr/>
        </p:nvSpPr>
        <p:spPr>
          <a:xfrm>
            <a:off x="3367934" y="1852053"/>
            <a:ext cx="4510938" cy="4892609"/>
          </a:xfrm>
          <a:prstGeom prst="roundRect">
            <a:avLst>
              <a:gd name="adj" fmla="val 7453"/>
            </a:avLst>
          </a:prstGeom>
          <a:solidFill>
            <a:srgbClr val="FFCF01"/>
          </a:solidFill>
          <a:ln>
            <a:noFill/>
          </a:ln>
          <a:effectLst>
            <a:outerShdw blurRad="444500" dist="698500" dir="5400000" sx="86000" sy="86000" algn="t" rotWithShape="0">
              <a:schemeClr val="bg2">
                <a:lumMod val="50000"/>
                <a:alpha val="4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dirty="0"/>
          </a:p>
        </p:txBody>
      </p:sp>
      <p:sp>
        <p:nvSpPr>
          <p:cNvPr id="151" name="Rectangle: Rounded Corners 150">
            <a:extLst>
              <a:ext uri="{FF2B5EF4-FFF2-40B4-BE49-F238E27FC236}">
                <a16:creationId xmlns:a16="http://schemas.microsoft.com/office/drawing/2014/main" id="{C4A9673E-15C7-4F00-B76E-27F0B7E9428F}"/>
              </a:ext>
            </a:extLst>
          </p:cNvPr>
          <p:cNvSpPr/>
          <p:nvPr/>
        </p:nvSpPr>
        <p:spPr>
          <a:xfrm>
            <a:off x="8154444" y="1853853"/>
            <a:ext cx="4037555" cy="5300554"/>
          </a:xfrm>
          <a:prstGeom prst="roundRect">
            <a:avLst>
              <a:gd name="adj" fmla="val 7453"/>
            </a:avLst>
          </a:prstGeom>
          <a:solidFill>
            <a:srgbClr val="FFCF01"/>
          </a:solidFill>
          <a:ln>
            <a:noFill/>
          </a:ln>
          <a:effectLst>
            <a:outerShdw blurRad="444500" dist="698500" dir="5400000" sx="86000" sy="86000" algn="t" rotWithShape="0">
              <a:schemeClr val="bg2">
                <a:lumMod val="50000"/>
                <a:alpha val="4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dirty="0"/>
          </a:p>
        </p:txBody>
      </p:sp>
      <p:sp>
        <p:nvSpPr>
          <p:cNvPr id="152" name="TextBox 151">
            <a:extLst>
              <a:ext uri="{FF2B5EF4-FFF2-40B4-BE49-F238E27FC236}">
                <a16:creationId xmlns:a16="http://schemas.microsoft.com/office/drawing/2014/main" id="{AFBD1BFA-C4E5-4E29-AFEB-04F47C3768FE}"/>
              </a:ext>
            </a:extLst>
          </p:cNvPr>
          <p:cNvSpPr txBox="1"/>
          <p:nvPr/>
        </p:nvSpPr>
        <p:spPr>
          <a:xfrm>
            <a:off x="8306698" y="2353093"/>
            <a:ext cx="3885302" cy="4524315"/>
          </a:xfrm>
          <a:prstGeom prst="rect">
            <a:avLst/>
          </a:prstGeom>
          <a:solidFill>
            <a:srgbClr val="FFCF01"/>
          </a:solidFill>
        </p:spPr>
        <p:txBody>
          <a:bodyPr wrap="square" rtlCol="0">
            <a:spAutoFit/>
          </a:bodyPr>
          <a:lstStyle/>
          <a:p>
            <a:pPr marL="342900" indent="-342900">
              <a:buAutoNum type="alphaLcPeriod"/>
            </a:pPr>
            <a:r>
              <a:rPr lang="en-US" dirty="0">
                <a:latin typeface="Roboto Condensed"/>
              </a:rPr>
              <a:t>Zambia has vast resource endowment in terms of land, labour and water, indicating the high potential to expand and/or excel</a:t>
            </a:r>
          </a:p>
          <a:p>
            <a:pPr marL="342900" indent="-342900">
              <a:buAutoNum type="alphaLcPeriod"/>
            </a:pPr>
            <a:r>
              <a:rPr lang="en-US" dirty="0">
                <a:latin typeface="Roboto Condensed"/>
              </a:rPr>
              <a:t>About 58% (42 million hectares) of land is classified as medium to high potential for agricultural production. </a:t>
            </a:r>
          </a:p>
          <a:p>
            <a:pPr marL="342900" indent="-342900">
              <a:buFontTx/>
              <a:buAutoNum type="alphaLcPeriod"/>
            </a:pPr>
            <a:r>
              <a:rPr lang="en-US" dirty="0">
                <a:latin typeface="Roboto Condensed"/>
              </a:rPr>
              <a:t>Zambia stands out as one of the prime tourism destinations in Africa offering a wealth of natural tourism assets</a:t>
            </a:r>
          </a:p>
          <a:p>
            <a:pPr marL="342900" indent="-342900">
              <a:buFontTx/>
              <a:buAutoNum type="alphaLcPeriod"/>
            </a:pPr>
            <a:r>
              <a:rPr lang="en-US" dirty="0">
                <a:latin typeface="Roboto Condensed"/>
              </a:rPr>
              <a:t>Endowed with a rich and diverse culture with more than 30 colorful traditional ceremonies.</a:t>
            </a:r>
            <a:endParaRPr lang="en-GB" sz="1800" b="1" dirty="0">
              <a:latin typeface="Roboto Condensed"/>
            </a:endParaRPr>
          </a:p>
        </p:txBody>
      </p:sp>
      <p:sp>
        <p:nvSpPr>
          <p:cNvPr id="32" name="Rectangle 31">
            <a:extLst>
              <a:ext uri="{FF2B5EF4-FFF2-40B4-BE49-F238E27FC236}">
                <a16:creationId xmlns:a16="http://schemas.microsoft.com/office/drawing/2014/main" id="{98C22CEC-9752-4DCF-ADAA-79F2A959B184}"/>
              </a:ext>
            </a:extLst>
          </p:cNvPr>
          <p:cNvSpPr/>
          <p:nvPr/>
        </p:nvSpPr>
        <p:spPr>
          <a:xfrm flipV="1">
            <a:off x="3356356" y="1121568"/>
            <a:ext cx="3072724" cy="407267"/>
          </a:xfrm>
          <a:prstGeom prst="rect">
            <a:avLst/>
          </a:prstGeom>
          <a:solidFill>
            <a:srgbClr val="FFCF01">
              <a:alpha val="9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p>
        </p:txBody>
      </p:sp>
      <p:sp>
        <p:nvSpPr>
          <p:cNvPr id="5" name="TextBox 4">
            <a:extLst>
              <a:ext uri="{FF2B5EF4-FFF2-40B4-BE49-F238E27FC236}">
                <a16:creationId xmlns:a16="http://schemas.microsoft.com/office/drawing/2014/main" id="{317F9BEA-F15C-456E-B8CC-0410D9129353}"/>
              </a:ext>
            </a:extLst>
          </p:cNvPr>
          <p:cNvSpPr txBox="1"/>
          <p:nvPr/>
        </p:nvSpPr>
        <p:spPr>
          <a:xfrm>
            <a:off x="3179134" y="1120163"/>
            <a:ext cx="4105209" cy="437043"/>
          </a:xfrm>
          <a:prstGeom prst="rect">
            <a:avLst/>
          </a:prstGeom>
          <a:solidFill>
            <a:srgbClr val="00B050"/>
          </a:solidFill>
        </p:spPr>
        <p:txBody>
          <a:bodyPr wrap="square" rtlCol="0">
            <a:spAutoFit/>
          </a:bodyPr>
          <a:lstStyle/>
          <a:p>
            <a:pPr algn="ctr">
              <a:lnSpc>
                <a:spcPct val="80000"/>
              </a:lnSpc>
            </a:pPr>
            <a:r>
              <a:rPr lang="en-US" sz="2800" i="0" dirty="0">
                <a:solidFill>
                  <a:schemeClr val="tx1">
                    <a:lumMod val="85000"/>
                    <a:lumOff val="15000"/>
                  </a:schemeClr>
                </a:solidFill>
                <a:effectLst/>
                <a:latin typeface="Roboto Condensed bold" panose="02000000000000000000" pitchFamily="2" charset="0"/>
                <a:ea typeface="Roboto Condensed bold" panose="02000000000000000000" pitchFamily="2" charset="0"/>
                <a:cs typeface="Heebo" panose="020B0604020202020204" pitchFamily="2" charset="-79"/>
              </a:rPr>
              <a:t>WHY ZAMBIA?</a:t>
            </a:r>
            <a:endParaRPr lang="en-ID" sz="2800" dirty="0">
              <a:solidFill>
                <a:schemeClr val="tx1">
                  <a:lumMod val="85000"/>
                  <a:lumOff val="15000"/>
                </a:schemeClr>
              </a:solidFill>
              <a:latin typeface="Roboto Condensed bold" panose="02000000000000000000" pitchFamily="2" charset="0"/>
              <a:ea typeface="Roboto Condensed bold" panose="02000000000000000000" pitchFamily="2" charset="0"/>
            </a:endParaRPr>
          </a:p>
        </p:txBody>
      </p:sp>
      <p:sp>
        <p:nvSpPr>
          <p:cNvPr id="85" name="TextBox 84">
            <a:extLst>
              <a:ext uri="{FF2B5EF4-FFF2-40B4-BE49-F238E27FC236}">
                <a16:creationId xmlns:a16="http://schemas.microsoft.com/office/drawing/2014/main" id="{88DC0F94-FF05-440C-B547-1D9353F1C7B6}"/>
              </a:ext>
            </a:extLst>
          </p:cNvPr>
          <p:cNvSpPr txBox="1"/>
          <p:nvPr/>
        </p:nvSpPr>
        <p:spPr>
          <a:xfrm>
            <a:off x="8306698" y="1952983"/>
            <a:ext cx="3593028" cy="400110"/>
          </a:xfrm>
          <a:prstGeom prst="rect">
            <a:avLst/>
          </a:prstGeom>
          <a:noFill/>
        </p:spPr>
        <p:txBody>
          <a:bodyPr wrap="square" rtlCol="0">
            <a:spAutoFit/>
          </a:bodyPr>
          <a:lstStyle/>
          <a:p>
            <a:r>
              <a:rPr lang="en-US" sz="2000" b="1" dirty="0">
                <a:latin typeface="PT Sans"/>
              </a:rPr>
              <a:t>NATURAL RESOURCES </a:t>
            </a:r>
            <a:endParaRPr lang="en-GB" sz="2000" b="1" dirty="0">
              <a:latin typeface="PT Sans"/>
              <a:ea typeface="Roboto Condensed" pitchFamily="2" charset="0"/>
            </a:endParaRPr>
          </a:p>
        </p:txBody>
      </p:sp>
      <p:sp>
        <p:nvSpPr>
          <p:cNvPr id="89" name="TextBox 88">
            <a:extLst>
              <a:ext uri="{FF2B5EF4-FFF2-40B4-BE49-F238E27FC236}">
                <a16:creationId xmlns:a16="http://schemas.microsoft.com/office/drawing/2014/main" id="{B0359789-52FC-473D-9B89-A29632280E65}"/>
              </a:ext>
            </a:extLst>
          </p:cNvPr>
          <p:cNvSpPr txBox="1"/>
          <p:nvPr/>
        </p:nvSpPr>
        <p:spPr>
          <a:xfrm>
            <a:off x="3453062" y="2353093"/>
            <a:ext cx="4513491" cy="4524315"/>
          </a:xfrm>
          <a:prstGeom prst="rect">
            <a:avLst/>
          </a:prstGeom>
          <a:solidFill>
            <a:srgbClr val="FFCF01"/>
          </a:solidFill>
        </p:spPr>
        <p:txBody>
          <a:bodyPr wrap="square" rtlCol="0">
            <a:spAutoFit/>
          </a:bodyPr>
          <a:lstStyle/>
          <a:p>
            <a:r>
              <a:rPr lang="en-US" dirty="0">
                <a:latin typeface="Roboto Condensed" pitchFamily="2" charset="0"/>
                <a:ea typeface="Roboto Condensed" pitchFamily="2" charset="0"/>
              </a:rPr>
              <a:t>The government signed the trade agreements</a:t>
            </a:r>
          </a:p>
          <a:p>
            <a:pPr marL="342900" indent="-342900">
              <a:buAutoNum type="alphaLcPeriod"/>
            </a:pPr>
            <a:r>
              <a:rPr lang="en-US" dirty="0">
                <a:latin typeface="Roboto Condensed" pitchFamily="2" charset="0"/>
                <a:ea typeface="Roboto Condensed" pitchFamily="2" charset="0"/>
              </a:rPr>
              <a:t>East and Southern Africa (ESA) – EU Economic Partnership Agreement (EPA)</a:t>
            </a:r>
            <a:r>
              <a:rPr lang="en-US" dirty="0">
                <a:latin typeface="Roboto Condensed"/>
              </a:rPr>
              <a:t> development</a:t>
            </a:r>
            <a:endParaRPr lang="en-US" dirty="0">
              <a:latin typeface="Roboto Condensed" pitchFamily="2" charset="0"/>
              <a:ea typeface="Roboto Condensed" pitchFamily="2" charset="0"/>
            </a:endParaRPr>
          </a:p>
          <a:p>
            <a:pPr marL="342900" indent="-342900">
              <a:buAutoNum type="alphaLcPeriod"/>
            </a:pPr>
            <a:r>
              <a:rPr lang="en-US" dirty="0">
                <a:latin typeface="Roboto Condensed" pitchFamily="2" charset="0"/>
                <a:ea typeface="Roboto Condensed" pitchFamily="2" charset="0"/>
              </a:rPr>
              <a:t>COMESA-EAC-SADC Tripartite Free Trade Area (TFTA)</a:t>
            </a:r>
          </a:p>
          <a:p>
            <a:pPr marL="342900" indent="-342900">
              <a:buAutoNum type="alphaLcPeriod"/>
            </a:pPr>
            <a:r>
              <a:rPr lang="en-US" dirty="0">
                <a:latin typeface="Roboto Condensed"/>
                <a:ea typeface="Roboto Condensed" pitchFamily="2" charset="0"/>
              </a:rPr>
              <a:t>African Continental Free Trade Area (</a:t>
            </a:r>
            <a:r>
              <a:rPr lang="en-US" dirty="0" err="1">
                <a:latin typeface="Roboto Condensed"/>
                <a:ea typeface="Roboto Condensed" pitchFamily="2" charset="0"/>
              </a:rPr>
              <a:t>AfCFTA</a:t>
            </a:r>
            <a:r>
              <a:rPr lang="en-US" dirty="0">
                <a:latin typeface="Roboto Condensed"/>
                <a:ea typeface="Roboto Condensed" pitchFamily="2" charset="0"/>
              </a:rPr>
              <a:t>).</a:t>
            </a:r>
          </a:p>
          <a:p>
            <a:pPr marL="342900" indent="-342900">
              <a:buFontTx/>
              <a:buAutoNum type="alphaLcPeriod"/>
            </a:pPr>
            <a:r>
              <a:rPr lang="en-US" dirty="0">
                <a:latin typeface="Roboto Condensed"/>
              </a:rPr>
              <a:t>The Zambian Government signed and is currently implementing a number of bilateral trade agreements with Angola, United Republic of Tanzania, Zimbabwe Democratic Republic of Congo, China, Canada, United States and Japan. </a:t>
            </a:r>
          </a:p>
          <a:p>
            <a:pPr marL="342900" indent="-342900">
              <a:buFontTx/>
              <a:buAutoNum type="alphaLcPeriod"/>
            </a:pPr>
            <a:r>
              <a:rPr lang="en-US" dirty="0">
                <a:latin typeface="Roboto Condensed"/>
              </a:rPr>
              <a:t>The Trade and Investment Framework</a:t>
            </a:r>
            <a:endParaRPr lang="en-GB" dirty="0">
              <a:latin typeface="Roboto Condensed" pitchFamily="2" charset="0"/>
              <a:ea typeface="Roboto Condensed" pitchFamily="2" charset="0"/>
            </a:endParaRPr>
          </a:p>
        </p:txBody>
      </p:sp>
      <p:sp>
        <p:nvSpPr>
          <p:cNvPr id="95" name="TextBox 94">
            <a:extLst>
              <a:ext uri="{FF2B5EF4-FFF2-40B4-BE49-F238E27FC236}">
                <a16:creationId xmlns:a16="http://schemas.microsoft.com/office/drawing/2014/main" id="{8C19C903-587E-4DFF-84E0-C207887500C8}"/>
              </a:ext>
            </a:extLst>
          </p:cNvPr>
          <p:cNvSpPr txBox="1"/>
          <p:nvPr/>
        </p:nvSpPr>
        <p:spPr>
          <a:xfrm>
            <a:off x="132347" y="2227142"/>
            <a:ext cx="2455740" cy="400110"/>
          </a:xfrm>
          <a:prstGeom prst="rect">
            <a:avLst/>
          </a:prstGeom>
          <a:noFill/>
        </p:spPr>
        <p:txBody>
          <a:bodyPr wrap="square" rtlCol="0">
            <a:spAutoFit/>
          </a:bodyPr>
          <a:lstStyle/>
          <a:p>
            <a:r>
              <a:rPr lang="en-US" sz="2000" b="1" dirty="0">
                <a:latin typeface="PT Sans"/>
              </a:rPr>
              <a:t>MARKET ACCESS </a:t>
            </a:r>
            <a:endParaRPr lang="en-US" sz="2000" dirty="0">
              <a:latin typeface="PT Sans"/>
            </a:endParaRPr>
          </a:p>
        </p:txBody>
      </p:sp>
      <p:sp>
        <p:nvSpPr>
          <p:cNvPr id="97" name="TextBox 96">
            <a:extLst>
              <a:ext uri="{FF2B5EF4-FFF2-40B4-BE49-F238E27FC236}">
                <a16:creationId xmlns:a16="http://schemas.microsoft.com/office/drawing/2014/main" id="{3C446FF2-C53F-4905-B587-33964F70D124}"/>
              </a:ext>
            </a:extLst>
          </p:cNvPr>
          <p:cNvSpPr txBox="1"/>
          <p:nvPr/>
        </p:nvSpPr>
        <p:spPr>
          <a:xfrm>
            <a:off x="70892" y="2752694"/>
            <a:ext cx="3285464" cy="3416320"/>
          </a:xfrm>
          <a:prstGeom prst="rect">
            <a:avLst/>
          </a:prstGeom>
          <a:solidFill>
            <a:srgbClr val="FFCF01"/>
          </a:solidFill>
        </p:spPr>
        <p:txBody>
          <a:bodyPr wrap="square" rtlCol="0">
            <a:spAutoFit/>
          </a:bodyPr>
          <a:lstStyle/>
          <a:p>
            <a:r>
              <a:rPr lang="en-US" dirty="0">
                <a:latin typeface="Roboto Condensed"/>
              </a:rPr>
              <a:t>1. A liberal economic and trade policy since 1991.</a:t>
            </a:r>
          </a:p>
          <a:p>
            <a:r>
              <a:rPr lang="en-US" dirty="0">
                <a:latin typeface="Roboto Condensed"/>
              </a:rPr>
              <a:t>2. Has membership to the World Trade Organization (WTO), the Common Market for Eastern and Southern Africa (COMESA) and Southern Africa Development Community (SADC) Free Trade Areas (FTA). </a:t>
            </a:r>
          </a:p>
          <a:p>
            <a:r>
              <a:rPr lang="en-US" dirty="0">
                <a:latin typeface="Roboto Condensed"/>
              </a:rPr>
              <a:t>3. One of the most open economies in the world.</a:t>
            </a:r>
            <a:endParaRPr lang="en-GB" dirty="0">
              <a:latin typeface="Roboto Condensed"/>
              <a:ea typeface="Roboto Condensed" pitchFamily="2" charset="0"/>
            </a:endParaRPr>
          </a:p>
        </p:txBody>
      </p:sp>
      <p:pic>
        <p:nvPicPr>
          <p:cNvPr id="3" name="Picture 2" descr="A white text on a black background&#10;&#10;Description automatically generated with medium confidence">
            <a:extLst>
              <a:ext uri="{FF2B5EF4-FFF2-40B4-BE49-F238E27FC236}">
                <a16:creationId xmlns:a16="http://schemas.microsoft.com/office/drawing/2014/main" id="{E9A7BC47-1601-7E38-53F1-7EFB0A4F2136}"/>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43264" y="152269"/>
            <a:ext cx="1305248" cy="749373"/>
          </a:xfrm>
          <a:prstGeom prst="rect">
            <a:avLst/>
          </a:prstGeom>
        </p:spPr>
      </p:pic>
      <p:pic>
        <p:nvPicPr>
          <p:cNvPr id="21" name="Picture 20"/>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32347" y="152268"/>
            <a:ext cx="2723795" cy="1953257"/>
          </a:xfrm>
          <a:prstGeom prst="rect">
            <a:avLst/>
          </a:prstGeom>
          <a:noFill/>
          <a:ln>
            <a:noFill/>
          </a:ln>
        </p:spPr>
      </p:pic>
      <p:sp>
        <p:nvSpPr>
          <p:cNvPr id="7" name="Rectangle 6"/>
          <p:cNvSpPr/>
          <p:nvPr/>
        </p:nvSpPr>
        <p:spPr>
          <a:xfrm>
            <a:off x="3356356" y="2001287"/>
            <a:ext cx="4610197" cy="400110"/>
          </a:xfrm>
          <a:prstGeom prst="rect">
            <a:avLst/>
          </a:prstGeom>
          <a:solidFill>
            <a:srgbClr val="FDD425"/>
          </a:solidFill>
        </p:spPr>
        <p:txBody>
          <a:bodyPr wrap="square">
            <a:spAutoFit/>
          </a:bodyPr>
          <a:lstStyle/>
          <a:p>
            <a:r>
              <a:rPr lang="en-GB" sz="2000" b="1" dirty="0">
                <a:latin typeface="PT Sans" panose="020B0503020203020204" pitchFamily="34" charset="0"/>
              </a:rPr>
              <a:t>ZAMBIA IS READY FOR BUSINESS</a:t>
            </a:r>
            <a:endParaRPr lang="en-US" sz="2000" dirty="0"/>
          </a:p>
        </p:txBody>
      </p:sp>
    </p:spTree>
    <p:extLst>
      <p:ext uri="{BB962C8B-B14F-4D97-AF65-F5344CB8AC3E}">
        <p14:creationId xmlns:p14="http://schemas.microsoft.com/office/powerpoint/2010/main" val="420858201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extBox 17">
            <a:extLst>
              <a:ext uri="{FF2B5EF4-FFF2-40B4-BE49-F238E27FC236}">
                <a16:creationId xmlns:a16="http://schemas.microsoft.com/office/drawing/2014/main" id="{AEDB9A00-419A-464E-984B-7772D097692C}"/>
              </a:ext>
            </a:extLst>
          </p:cNvPr>
          <p:cNvSpPr txBox="1"/>
          <p:nvPr/>
        </p:nvSpPr>
        <p:spPr>
          <a:xfrm>
            <a:off x="1035699" y="2877596"/>
            <a:ext cx="4105376" cy="707886"/>
          </a:xfrm>
          <a:prstGeom prst="rect">
            <a:avLst/>
          </a:prstGeom>
          <a:noFill/>
        </p:spPr>
        <p:txBody>
          <a:bodyPr wrap="square" rtlCol="0">
            <a:spAutoFit/>
          </a:bodyPr>
          <a:lstStyle/>
          <a:p>
            <a:r>
              <a:rPr lang="en-GB" sz="2000" dirty="0">
                <a:latin typeface="PT Sans" panose="020B0503020203020204" pitchFamily="34" charset="0"/>
              </a:rPr>
              <a:t>The economy is anchored on these four main sectors.</a:t>
            </a:r>
          </a:p>
        </p:txBody>
      </p:sp>
      <p:sp>
        <p:nvSpPr>
          <p:cNvPr id="19" name="TextBox 18">
            <a:extLst>
              <a:ext uri="{FF2B5EF4-FFF2-40B4-BE49-F238E27FC236}">
                <a16:creationId xmlns:a16="http://schemas.microsoft.com/office/drawing/2014/main" id="{F43EE06F-9288-4802-8E8A-07190DA75411}"/>
              </a:ext>
            </a:extLst>
          </p:cNvPr>
          <p:cNvSpPr txBox="1"/>
          <p:nvPr/>
        </p:nvSpPr>
        <p:spPr>
          <a:xfrm>
            <a:off x="300626" y="1748426"/>
            <a:ext cx="4840450" cy="584775"/>
          </a:xfrm>
          <a:prstGeom prst="rect">
            <a:avLst/>
          </a:prstGeom>
          <a:noFill/>
        </p:spPr>
        <p:txBody>
          <a:bodyPr wrap="square" rtlCol="0">
            <a:spAutoFit/>
          </a:bodyPr>
          <a:lstStyle/>
          <a:p>
            <a:r>
              <a:rPr lang="en-GB" sz="3200" b="1" dirty="0">
                <a:latin typeface="Roboto Condensed" pitchFamily="2" charset="0"/>
                <a:ea typeface="Roboto Condensed" pitchFamily="2" charset="0"/>
              </a:rPr>
              <a:t>The Zambian Economy</a:t>
            </a:r>
          </a:p>
        </p:txBody>
      </p:sp>
      <p:sp>
        <p:nvSpPr>
          <p:cNvPr id="2" name="Google Shape;745;p35">
            <a:extLst>
              <a:ext uri="{FF2B5EF4-FFF2-40B4-BE49-F238E27FC236}">
                <a16:creationId xmlns:a16="http://schemas.microsoft.com/office/drawing/2014/main" id="{734B72CE-9884-2213-5CA6-64451463E538}"/>
              </a:ext>
            </a:extLst>
          </p:cNvPr>
          <p:cNvSpPr txBox="1">
            <a:spLocks/>
          </p:cNvSpPr>
          <p:nvPr/>
        </p:nvSpPr>
        <p:spPr>
          <a:xfrm>
            <a:off x="5493651" y="175468"/>
            <a:ext cx="1405293" cy="721943"/>
          </a:xfrm>
          <a:prstGeom prst="rect">
            <a:avLst/>
          </a:prstGeom>
          <a:noFill/>
        </p:spPr>
        <p:txBody>
          <a:bodyPr spcFirstLastPara="1" wrap="square" lIns="91425" tIns="91425" rIns="91425" bIns="91425" anchor="ctr" anchorCtr="0">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spcBef>
                <a:spcPts val="0"/>
              </a:spcBef>
            </a:pPr>
            <a:r>
              <a:rPr lang="en" sz="6600" b="1" dirty="0">
                <a:solidFill>
                  <a:schemeClr val="accent4"/>
                </a:solidFill>
                <a:latin typeface="Chivo" panose="020B0604020202020204" charset="0"/>
                <a:ea typeface="Chivo" panose="020B0604020202020204" charset="0"/>
                <a:cs typeface="Chivo" panose="020B0604020202020204" charset="0"/>
              </a:rPr>
              <a:t>01</a:t>
            </a:r>
          </a:p>
        </p:txBody>
      </p:sp>
      <p:sp>
        <p:nvSpPr>
          <p:cNvPr id="4" name="Google Shape;745;p35">
            <a:extLst>
              <a:ext uri="{FF2B5EF4-FFF2-40B4-BE49-F238E27FC236}">
                <a16:creationId xmlns:a16="http://schemas.microsoft.com/office/drawing/2014/main" id="{388DA844-3E3E-98FF-1E2C-0BF769FF77ED}"/>
              </a:ext>
            </a:extLst>
          </p:cNvPr>
          <p:cNvSpPr txBox="1">
            <a:spLocks/>
          </p:cNvSpPr>
          <p:nvPr/>
        </p:nvSpPr>
        <p:spPr>
          <a:xfrm>
            <a:off x="-127763" y="4187815"/>
            <a:ext cx="1405293" cy="721943"/>
          </a:xfrm>
          <a:prstGeom prst="rect">
            <a:avLst/>
          </a:prstGeom>
          <a:noFill/>
        </p:spPr>
        <p:txBody>
          <a:bodyPr spcFirstLastPara="1" wrap="square" lIns="91425" tIns="91425" rIns="91425" bIns="91425" anchor="ctr" anchorCtr="0">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spcBef>
                <a:spcPts val="0"/>
              </a:spcBef>
            </a:pPr>
            <a:r>
              <a:rPr lang="en" sz="6600" b="1" dirty="0">
                <a:solidFill>
                  <a:schemeClr val="accent4"/>
                </a:solidFill>
                <a:latin typeface="Chivo" panose="020B0604020202020204" charset="0"/>
                <a:ea typeface="Chivo" panose="020B0604020202020204" charset="0"/>
                <a:cs typeface="Chivo" panose="020B0604020202020204" charset="0"/>
              </a:rPr>
              <a:t>02</a:t>
            </a:r>
          </a:p>
        </p:txBody>
      </p:sp>
      <p:sp>
        <p:nvSpPr>
          <p:cNvPr id="7" name="Google Shape;745;p35">
            <a:extLst>
              <a:ext uri="{FF2B5EF4-FFF2-40B4-BE49-F238E27FC236}">
                <a16:creationId xmlns:a16="http://schemas.microsoft.com/office/drawing/2014/main" id="{43CB963F-5942-6BF7-2060-E9B8890A772E}"/>
              </a:ext>
            </a:extLst>
          </p:cNvPr>
          <p:cNvSpPr txBox="1">
            <a:spLocks/>
          </p:cNvSpPr>
          <p:nvPr/>
        </p:nvSpPr>
        <p:spPr>
          <a:xfrm>
            <a:off x="8392807" y="4184441"/>
            <a:ext cx="1405293" cy="721943"/>
          </a:xfrm>
          <a:prstGeom prst="rect">
            <a:avLst/>
          </a:prstGeom>
          <a:noFill/>
        </p:spPr>
        <p:txBody>
          <a:bodyPr spcFirstLastPara="1" wrap="square" lIns="91425" tIns="91425" rIns="91425" bIns="91425" anchor="ctr" anchorCtr="0">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spcBef>
                <a:spcPts val="0"/>
              </a:spcBef>
            </a:pPr>
            <a:r>
              <a:rPr lang="en" sz="6600" b="1" dirty="0">
                <a:solidFill>
                  <a:schemeClr val="accent4"/>
                </a:solidFill>
                <a:latin typeface="Chivo" panose="020B0604020202020204" charset="0"/>
                <a:ea typeface="Chivo" panose="020B0604020202020204" charset="0"/>
                <a:cs typeface="Chivo" panose="020B0604020202020204" charset="0"/>
              </a:rPr>
              <a:t>04</a:t>
            </a:r>
          </a:p>
        </p:txBody>
      </p:sp>
      <p:sp>
        <p:nvSpPr>
          <p:cNvPr id="9" name="Google Shape;745;p35">
            <a:extLst>
              <a:ext uri="{FF2B5EF4-FFF2-40B4-BE49-F238E27FC236}">
                <a16:creationId xmlns:a16="http://schemas.microsoft.com/office/drawing/2014/main" id="{5D9A325B-F6E6-3A5E-50F7-2D3D569F7572}"/>
              </a:ext>
            </a:extLst>
          </p:cNvPr>
          <p:cNvSpPr txBox="1">
            <a:spLocks/>
          </p:cNvSpPr>
          <p:nvPr/>
        </p:nvSpPr>
        <p:spPr>
          <a:xfrm>
            <a:off x="2591339" y="951140"/>
            <a:ext cx="1405293" cy="721943"/>
          </a:xfrm>
          <a:prstGeom prst="rect">
            <a:avLst/>
          </a:prstGeom>
          <a:noFill/>
        </p:spPr>
        <p:txBody>
          <a:bodyPr spcFirstLastPara="1" wrap="square" lIns="91425" tIns="91425" rIns="91425" bIns="91425" anchor="ctr" anchorCtr="0">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spcBef>
                <a:spcPts val="0"/>
              </a:spcBef>
            </a:pPr>
            <a:endParaRPr lang="en" sz="6600" b="1" dirty="0">
              <a:solidFill>
                <a:schemeClr val="accent4"/>
              </a:solidFill>
              <a:latin typeface="Chivo" panose="020B0604020202020204" charset="0"/>
              <a:ea typeface="Chivo" panose="020B0604020202020204" charset="0"/>
              <a:cs typeface="Chivo" panose="020B0604020202020204" charset="0"/>
            </a:endParaRPr>
          </a:p>
        </p:txBody>
      </p:sp>
      <p:sp>
        <p:nvSpPr>
          <p:cNvPr id="10" name="Freeform: Shape 9">
            <a:extLst>
              <a:ext uri="{FF2B5EF4-FFF2-40B4-BE49-F238E27FC236}">
                <a16:creationId xmlns:a16="http://schemas.microsoft.com/office/drawing/2014/main" id="{D4E607B6-5E34-AD95-84EE-514578CCF18F}"/>
              </a:ext>
            </a:extLst>
          </p:cNvPr>
          <p:cNvSpPr/>
          <p:nvPr/>
        </p:nvSpPr>
        <p:spPr>
          <a:xfrm>
            <a:off x="11080257" y="385"/>
            <a:ext cx="1120557" cy="1166056"/>
          </a:xfrm>
          <a:custGeom>
            <a:avLst/>
            <a:gdLst>
              <a:gd name="connsiteX0" fmla="*/ 1550109 w 1576226"/>
              <a:gd name="connsiteY0" fmla="*/ 1588006 h 1640228"/>
              <a:gd name="connsiteX1" fmla="*/ 1576220 w 1576226"/>
              <a:gd name="connsiteY1" fmla="*/ 1614117 h 1640228"/>
              <a:gd name="connsiteX2" fmla="*/ 1550109 w 1576226"/>
              <a:gd name="connsiteY2" fmla="*/ 1640228 h 1640228"/>
              <a:gd name="connsiteX3" fmla="*/ 1523998 w 1576226"/>
              <a:gd name="connsiteY3" fmla="*/ 1614117 h 1640228"/>
              <a:gd name="connsiteX4" fmla="*/ 1550109 w 1576226"/>
              <a:gd name="connsiteY4" fmla="*/ 1588006 h 1640228"/>
              <a:gd name="connsiteX5" fmla="*/ 1332395 w 1576226"/>
              <a:gd name="connsiteY5" fmla="*/ 1588006 h 1640228"/>
              <a:gd name="connsiteX6" fmla="*/ 1358506 w 1576226"/>
              <a:gd name="connsiteY6" fmla="*/ 1614117 h 1640228"/>
              <a:gd name="connsiteX7" fmla="*/ 1332395 w 1576226"/>
              <a:gd name="connsiteY7" fmla="*/ 1640228 h 1640228"/>
              <a:gd name="connsiteX8" fmla="*/ 1306284 w 1576226"/>
              <a:gd name="connsiteY8" fmla="*/ 1614117 h 1640228"/>
              <a:gd name="connsiteX9" fmla="*/ 1332395 w 1576226"/>
              <a:gd name="connsiteY9" fmla="*/ 1588006 h 1640228"/>
              <a:gd name="connsiteX10" fmla="*/ 1114682 w 1576226"/>
              <a:gd name="connsiteY10" fmla="*/ 1588006 h 1640228"/>
              <a:gd name="connsiteX11" fmla="*/ 1140793 w 1576226"/>
              <a:gd name="connsiteY11" fmla="*/ 1614117 h 1640228"/>
              <a:gd name="connsiteX12" fmla="*/ 1114682 w 1576226"/>
              <a:gd name="connsiteY12" fmla="*/ 1640228 h 1640228"/>
              <a:gd name="connsiteX13" fmla="*/ 1088571 w 1576226"/>
              <a:gd name="connsiteY13" fmla="*/ 1614117 h 1640228"/>
              <a:gd name="connsiteX14" fmla="*/ 1114682 w 1576226"/>
              <a:gd name="connsiteY14" fmla="*/ 1588006 h 1640228"/>
              <a:gd name="connsiteX15" fmla="*/ 896968 w 1576226"/>
              <a:gd name="connsiteY15" fmla="*/ 1588006 h 1640228"/>
              <a:gd name="connsiteX16" fmla="*/ 923079 w 1576226"/>
              <a:gd name="connsiteY16" fmla="*/ 1614117 h 1640228"/>
              <a:gd name="connsiteX17" fmla="*/ 896968 w 1576226"/>
              <a:gd name="connsiteY17" fmla="*/ 1640228 h 1640228"/>
              <a:gd name="connsiteX18" fmla="*/ 870857 w 1576226"/>
              <a:gd name="connsiteY18" fmla="*/ 1614117 h 1640228"/>
              <a:gd name="connsiteX19" fmla="*/ 896968 w 1576226"/>
              <a:gd name="connsiteY19" fmla="*/ 1588006 h 1640228"/>
              <a:gd name="connsiteX20" fmla="*/ 679253 w 1576226"/>
              <a:gd name="connsiteY20" fmla="*/ 1588006 h 1640228"/>
              <a:gd name="connsiteX21" fmla="*/ 705364 w 1576226"/>
              <a:gd name="connsiteY21" fmla="*/ 1614117 h 1640228"/>
              <a:gd name="connsiteX22" fmla="*/ 679253 w 1576226"/>
              <a:gd name="connsiteY22" fmla="*/ 1640228 h 1640228"/>
              <a:gd name="connsiteX23" fmla="*/ 653142 w 1576226"/>
              <a:gd name="connsiteY23" fmla="*/ 1614117 h 1640228"/>
              <a:gd name="connsiteX24" fmla="*/ 679253 w 1576226"/>
              <a:gd name="connsiteY24" fmla="*/ 1588006 h 1640228"/>
              <a:gd name="connsiteX25" fmla="*/ 461539 w 1576226"/>
              <a:gd name="connsiteY25" fmla="*/ 1588006 h 1640228"/>
              <a:gd name="connsiteX26" fmla="*/ 487650 w 1576226"/>
              <a:gd name="connsiteY26" fmla="*/ 1614117 h 1640228"/>
              <a:gd name="connsiteX27" fmla="*/ 461539 w 1576226"/>
              <a:gd name="connsiteY27" fmla="*/ 1640228 h 1640228"/>
              <a:gd name="connsiteX28" fmla="*/ 435428 w 1576226"/>
              <a:gd name="connsiteY28" fmla="*/ 1614117 h 1640228"/>
              <a:gd name="connsiteX29" fmla="*/ 461539 w 1576226"/>
              <a:gd name="connsiteY29" fmla="*/ 1588006 h 1640228"/>
              <a:gd name="connsiteX30" fmla="*/ 243825 w 1576226"/>
              <a:gd name="connsiteY30" fmla="*/ 1588006 h 1640228"/>
              <a:gd name="connsiteX31" fmla="*/ 269936 w 1576226"/>
              <a:gd name="connsiteY31" fmla="*/ 1614117 h 1640228"/>
              <a:gd name="connsiteX32" fmla="*/ 243825 w 1576226"/>
              <a:gd name="connsiteY32" fmla="*/ 1640228 h 1640228"/>
              <a:gd name="connsiteX33" fmla="*/ 217714 w 1576226"/>
              <a:gd name="connsiteY33" fmla="*/ 1614117 h 1640228"/>
              <a:gd name="connsiteX34" fmla="*/ 243825 w 1576226"/>
              <a:gd name="connsiteY34" fmla="*/ 1588006 h 1640228"/>
              <a:gd name="connsiteX35" fmla="*/ 26111 w 1576226"/>
              <a:gd name="connsiteY35" fmla="*/ 1588006 h 1640228"/>
              <a:gd name="connsiteX36" fmla="*/ 52222 w 1576226"/>
              <a:gd name="connsiteY36" fmla="*/ 1614117 h 1640228"/>
              <a:gd name="connsiteX37" fmla="*/ 26111 w 1576226"/>
              <a:gd name="connsiteY37" fmla="*/ 1640228 h 1640228"/>
              <a:gd name="connsiteX38" fmla="*/ 0 w 1576226"/>
              <a:gd name="connsiteY38" fmla="*/ 1614117 h 1640228"/>
              <a:gd name="connsiteX39" fmla="*/ 26111 w 1576226"/>
              <a:gd name="connsiteY39" fmla="*/ 1588006 h 1640228"/>
              <a:gd name="connsiteX40" fmla="*/ 1550110 w 1576226"/>
              <a:gd name="connsiteY40" fmla="*/ 1361148 h 1640228"/>
              <a:gd name="connsiteX41" fmla="*/ 1576221 w 1576226"/>
              <a:gd name="connsiteY41" fmla="*/ 1387259 h 1640228"/>
              <a:gd name="connsiteX42" fmla="*/ 1550110 w 1576226"/>
              <a:gd name="connsiteY42" fmla="*/ 1413370 h 1640228"/>
              <a:gd name="connsiteX43" fmla="*/ 1523999 w 1576226"/>
              <a:gd name="connsiteY43" fmla="*/ 1387259 h 1640228"/>
              <a:gd name="connsiteX44" fmla="*/ 1550110 w 1576226"/>
              <a:gd name="connsiteY44" fmla="*/ 1361148 h 1640228"/>
              <a:gd name="connsiteX45" fmla="*/ 1332396 w 1576226"/>
              <a:gd name="connsiteY45" fmla="*/ 1361148 h 1640228"/>
              <a:gd name="connsiteX46" fmla="*/ 1358507 w 1576226"/>
              <a:gd name="connsiteY46" fmla="*/ 1387259 h 1640228"/>
              <a:gd name="connsiteX47" fmla="*/ 1332396 w 1576226"/>
              <a:gd name="connsiteY47" fmla="*/ 1413370 h 1640228"/>
              <a:gd name="connsiteX48" fmla="*/ 1306285 w 1576226"/>
              <a:gd name="connsiteY48" fmla="*/ 1387259 h 1640228"/>
              <a:gd name="connsiteX49" fmla="*/ 1332396 w 1576226"/>
              <a:gd name="connsiteY49" fmla="*/ 1361148 h 1640228"/>
              <a:gd name="connsiteX50" fmla="*/ 1114683 w 1576226"/>
              <a:gd name="connsiteY50" fmla="*/ 1361148 h 1640228"/>
              <a:gd name="connsiteX51" fmla="*/ 1140794 w 1576226"/>
              <a:gd name="connsiteY51" fmla="*/ 1387259 h 1640228"/>
              <a:gd name="connsiteX52" fmla="*/ 1114683 w 1576226"/>
              <a:gd name="connsiteY52" fmla="*/ 1413370 h 1640228"/>
              <a:gd name="connsiteX53" fmla="*/ 1088572 w 1576226"/>
              <a:gd name="connsiteY53" fmla="*/ 1387259 h 1640228"/>
              <a:gd name="connsiteX54" fmla="*/ 1114683 w 1576226"/>
              <a:gd name="connsiteY54" fmla="*/ 1361148 h 1640228"/>
              <a:gd name="connsiteX55" fmla="*/ 896969 w 1576226"/>
              <a:gd name="connsiteY55" fmla="*/ 1361148 h 1640228"/>
              <a:gd name="connsiteX56" fmla="*/ 923080 w 1576226"/>
              <a:gd name="connsiteY56" fmla="*/ 1387259 h 1640228"/>
              <a:gd name="connsiteX57" fmla="*/ 896969 w 1576226"/>
              <a:gd name="connsiteY57" fmla="*/ 1413370 h 1640228"/>
              <a:gd name="connsiteX58" fmla="*/ 870858 w 1576226"/>
              <a:gd name="connsiteY58" fmla="*/ 1387259 h 1640228"/>
              <a:gd name="connsiteX59" fmla="*/ 896969 w 1576226"/>
              <a:gd name="connsiteY59" fmla="*/ 1361148 h 1640228"/>
              <a:gd name="connsiteX60" fmla="*/ 679254 w 1576226"/>
              <a:gd name="connsiteY60" fmla="*/ 1361148 h 1640228"/>
              <a:gd name="connsiteX61" fmla="*/ 705365 w 1576226"/>
              <a:gd name="connsiteY61" fmla="*/ 1387259 h 1640228"/>
              <a:gd name="connsiteX62" fmla="*/ 679254 w 1576226"/>
              <a:gd name="connsiteY62" fmla="*/ 1413370 h 1640228"/>
              <a:gd name="connsiteX63" fmla="*/ 653143 w 1576226"/>
              <a:gd name="connsiteY63" fmla="*/ 1387259 h 1640228"/>
              <a:gd name="connsiteX64" fmla="*/ 679254 w 1576226"/>
              <a:gd name="connsiteY64" fmla="*/ 1361148 h 1640228"/>
              <a:gd name="connsiteX65" fmla="*/ 461540 w 1576226"/>
              <a:gd name="connsiteY65" fmla="*/ 1361148 h 1640228"/>
              <a:gd name="connsiteX66" fmla="*/ 487651 w 1576226"/>
              <a:gd name="connsiteY66" fmla="*/ 1387259 h 1640228"/>
              <a:gd name="connsiteX67" fmla="*/ 461540 w 1576226"/>
              <a:gd name="connsiteY67" fmla="*/ 1413370 h 1640228"/>
              <a:gd name="connsiteX68" fmla="*/ 435429 w 1576226"/>
              <a:gd name="connsiteY68" fmla="*/ 1387259 h 1640228"/>
              <a:gd name="connsiteX69" fmla="*/ 461540 w 1576226"/>
              <a:gd name="connsiteY69" fmla="*/ 1361148 h 1640228"/>
              <a:gd name="connsiteX70" fmla="*/ 243826 w 1576226"/>
              <a:gd name="connsiteY70" fmla="*/ 1361148 h 1640228"/>
              <a:gd name="connsiteX71" fmla="*/ 269937 w 1576226"/>
              <a:gd name="connsiteY71" fmla="*/ 1387259 h 1640228"/>
              <a:gd name="connsiteX72" fmla="*/ 243826 w 1576226"/>
              <a:gd name="connsiteY72" fmla="*/ 1413370 h 1640228"/>
              <a:gd name="connsiteX73" fmla="*/ 217715 w 1576226"/>
              <a:gd name="connsiteY73" fmla="*/ 1387259 h 1640228"/>
              <a:gd name="connsiteX74" fmla="*/ 243826 w 1576226"/>
              <a:gd name="connsiteY74" fmla="*/ 1361148 h 1640228"/>
              <a:gd name="connsiteX75" fmla="*/ 26112 w 1576226"/>
              <a:gd name="connsiteY75" fmla="*/ 1361148 h 1640228"/>
              <a:gd name="connsiteX76" fmla="*/ 52223 w 1576226"/>
              <a:gd name="connsiteY76" fmla="*/ 1387259 h 1640228"/>
              <a:gd name="connsiteX77" fmla="*/ 26112 w 1576226"/>
              <a:gd name="connsiteY77" fmla="*/ 1413370 h 1640228"/>
              <a:gd name="connsiteX78" fmla="*/ 1 w 1576226"/>
              <a:gd name="connsiteY78" fmla="*/ 1387259 h 1640228"/>
              <a:gd name="connsiteX79" fmla="*/ 26112 w 1576226"/>
              <a:gd name="connsiteY79" fmla="*/ 1361148 h 1640228"/>
              <a:gd name="connsiteX80" fmla="*/ 1550111 w 1576226"/>
              <a:gd name="connsiteY80" fmla="*/ 1134290 h 1640228"/>
              <a:gd name="connsiteX81" fmla="*/ 1576222 w 1576226"/>
              <a:gd name="connsiteY81" fmla="*/ 1160401 h 1640228"/>
              <a:gd name="connsiteX82" fmla="*/ 1550111 w 1576226"/>
              <a:gd name="connsiteY82" fmla="*/ 1186512 h 1640228"/>
              <a:gd name="connsiteX83" fmla="*/ 1524000 w 1576226"/>
              <a:gd name="connsiteY83" fmla="*/ 1160401 h 1640228"/>
              <a:gd name="connsiteX84" fmla="*/ 1550111 w 1576226"/>
              <a:gd name="connsiteY84" fmla="*/ 1134290 h 1640228"/>
              <a:gd name="connsiteX85" fmla="*/ 1332397 w 1576226"/>
              <a:gd name="connsiteY85" fmla="*/ 1134290 h 1640228"/>
              <a:gd name="connsiteX86" fmla="*/ 1358508 w 1576226"/>
              <a:gd name="connsiteY86" fmla="*/ 1160401 h 1640228"/>
              <a:gd name="connsiteX87" fmla="*/ 1332397 w 1576226"/>
              <a:gd name="connsiteY87" fmla="*/ 1186512 h 1640228"/>
              <a:gd name="connsiteX88" fmla="*/ 1306286 w 1576226"/>
              <a:gd name="connsiteY88" fmla="*/ 1160401 h 1640228"/>
              <a:gd name="connsiteX89" fmla="*/ 1332397 w 1576226"/>
              <a:gd name="connsiteY89" fmla="*/ 1134290 h 1640228"/>
              <a:gd name="connsiteX90" fmla="*/ 1114684 w 1576226"/>
              <a:gd name="connsiteY90" fmla="*/ 1134290 h 1640228"/>
              <a:gd name="connsiteX91" fmla="*/ 1140795 w 1576226"/>
              <a:gd name="connsiteY91" fmla="*/ 1160401 h 1640228"/>
              <a:gd name="connsiteX92" fmla="*/ 1114684 w 1576226"/>
              <a:gd name="connsiteY92" fmla="*/ 1186512 h 1640228"/>
              <a:gd name="connsiteX93" fmla="*/ 1088573 w 1576226"/>
              <a:gd name="connsiteY93" fmla="*/ 1160401 h 1640228"/>
              <a:gd name="connsiteX94" fmla="*/ 1114684 w 1576226"/>
              <a:gd name="connsiteY94" fmla="*/ 1134290 h 1640228"/>
              <a:gd name="connsiteX95" fmla="*/ 896970 w 1576226"/>
              <a:gd name="connsiteY95" fmla="*/ 1134290 h 1640228"/>
              <a:gd name="connsiteX96" fmla="*/ 923081 w 1576226"/>
              <a:gd name="connsiteY96" fmla="*/ 1160401 h 1640228"/>
              <a:gd name="connsiteX97" fmla="*/ 896970 w 1576226"/>
              <a:gd name="connsiteY97" fmla="*/ 1186512 h 1640228"/>
              <a:gd name="connsiteX98" fmla="*/ 870859 w 1576226"/>
              <a:gd name="connsiteY98" fmla="*/ 1160401 h 1640228"/>
              <a:gd name="connsiteX99" fmla="*/ 896970 w 1576226"/>
              <a:gd name="connsiteY99" fmla="*/ 1134290 h 1640228"/>
              <a:gd name="connsiteX100" fmla="*/ 679255 w 1576226"/>
              <a:gd name="connsiteY100" fmla="*/ 1134290 h 1640228"/>
              <a:gd name="connsiteX101" fmla="*/ 705366 w 1576226"/>
              <a:gd name="connsiteY101" fmla="*/ 1160401 h 1640228"/>
              <a:gd name="connsiteX102" fmla="*/ 679255 w 1576226"/>
              <a:gd name="connsiteY102" fmla="*/ 1186512 h 1640228"/>
              <a:gd name="connsiteX103" fmla="*/ 653144 w 1576226"/>
              <a:gd name="connsiteY103" fmla="*/ 1160401 h 1640228"/>
              <a:gd name="connsiteX104" fmla="*/ 679255 w 1576226"/>
              <a:gd name="connsiteY104" fmla="*/ 1134290 h 1640228"/>
              <a:gd name="connsiteX105" fmla="*/ 461541 w 1576226"/>
              <a:gd name="connsiteY105" fmla="*/ 1134290 h 1640228"/>
              <a:gd name="connsiteX106" fmla="*/ 487652 w 1576226"/>
              <a:gd name="connsiteY106" fmla="*/ 1160401 h 1640228"/>
              <a:gd name="connsiteX107" fmla="*/ 461541 w 1576226"/>
              <a:gd name="connsiteY107" fmla="*/ 1186512 h 1640228"/>
              <a:gd name="connsiteX108" fmla="*/ 435430 w 1576226"/>
              <a:gd name="connsiteY108" fmla="*/ 1160401 h 1640228"/>
              <a:gd name="connsiteX109" fmla="*/ 461541 w 1576226"/>
              <a:gd name="connsiteY109" fmla="*/ 1134290 h 1640228"/>
              <a:gd name="connsiteX110" fmla="*/ 243827 w 1576226"/>
              <a:gd name="connsiteY110" fmla="*/ 1134290 h 1640228"/>
              <a:gd name="connsiteX111" fmla="*/ 269938 w 1576226"/>
              <a:gd name="connsiteY111" fmla="*/ 1160401 h 1640228"/>
              <a:gd name="connsiteX112" fmla="*/ 243827 w 1576226"/>
              <a:gd name="connsiteY112" fmla="*/ 1186512 h 1640228"/>
              <a:gd name="connsiteX113" fmla="*/ 217716 w 1576226"/>
              <a:gd name="connsiteY113" fmla="*/ 1160401 h 1640228"/>
              <a:gd name="connsiteX114" fmla="*/ 243827 w 1576226"/>
              <a:gd name="connsiteY114" fmla="*/ 1134290 h 1640228"/>
              <a:gd name="connsiteX115" fmla="*/ 26113 w 1576226"/>
              <a:gd name="connsiteY115" fmla="*/ 1134290 h 1640228"/>
              <a:gd name="connsiteX116" fmla="*/ 52224 w 1576226"/>
              <a:gd name="connsiteY116" fmla="*/ 1160401 h 1640228"/>
              <a:gd name="connsiteX117" fmla="*/ 26113 w 1576226"/>
              <a:gd name="connsiteY117" fmla="*/ 1186512 h 1640228"/>
              <a:gd name="connsiteX118" fmla="*/ 2 w 1576226"/>
              <a:gd name="connsiteY118" fmla="*/ 1160401 h 1640228"/>
              <a:gd name="connsiteX119" fmla="*/ 26113 w 1576226"/>
              <a:gd name="connsiteY119" fmla="*/ 1134290 h 1640228"/>
              <a:gd name="connsiteX120" fmla="*/ 1550112 w 1576226"/>
              <a:gd name="connsiteY120" fmla="*/ 907432 h 1640228"/>
              <a:gd name="connsiteX121" fmla="*/ 1576223 w 1576226"/>
              <a:gd name="connsiteY121" fmla="*/ 933543 h 1640228"/>
              <a:gd name="connsiteX122" fmla="*/ 1550112 w 1576226"/>
              <a:gd name="connsiteY122" fmla="*/ 959654 h 1640228"/>
              <a:gd name="connsiteX123" fmla="*/ 1524001 w 1576226"/>
              <a:gd name="connsiteY123" fmla="*/ 933543 h 1640228"/>
              <a:gd name="connsiteX124" fmla="*/ 1550112 w 1576226"/>
              <a:gd name="connsiteY124" fmla="*/ 907432 h 1640228"/>
              <a:gd name="connsiteX125" fmla="*/ 1332398 w 1576226"/>
              <a:gd name="connsiteY125" fmla="*/ 907432 h 1640228"/>
              <a:gd name="connsiteX126" fmla="*/ 1358509 w 1576226"/>
              <a:gd name="connsiteY126" fmla="*/ 933543 h 1640228"/>
              <a:gd name="connsiteX127" fmla="*/ 1332398 w 1576226"/>
              <a:gd name="connsiteY127" fmla="*/ 959654 h 1640228"/>
              <a:gd name="connsiteX128" fmla="*/ 1306287 w 1576226"/>
              <a:gd name="connsiteY128" fmla="*/ 933543 h 1640228"/>
              <a:gd name="connsiteX129" fmla="*/ 1332398 w 1576226"/>
              <a:gd name="connsiteY129" fmla="*/ 907432 h 1640228"/>
              <a:gd name="connsiteX130" fmla="*/ 1114685 w 1576226"/>
              <a:gd name="connsiteY130" fmla="*/ 907432 h 1640228"/>
              <a:gd name="connsiteX131" fmla="*/ 1140796 w 1576226"/>
              <a:gd name="connsiteY131" fmla="*/ 933543 h 1640228"/>
              <a:gd name="connsiteX132" fmla="*/ 1114685 w 1576226"/>
              <a:gd name="connsiteY132" fmla="*/ 959654 h 1640228"/>
              <a:gd name="connsiteX133" fmla="*/ 1088574 w 1576226"/>
              <a:gd name="connsiteY133" fmla="*/ 933543 h 1640228"/>
              <a:gd name="connsiteX134" fmla="*/ 1114685 w 1576226"/>
              <a:gd name="connsiteY134" fmla="*/ 907432 h 1640228"/>
              <a:gd name="connsiteX135" fmla="*/ 896971 w 1576226"/>
              <a:gd name="connsiteY135" fmla="*/ 907432 h 1640228"/>
              <a:gd name="connsiteX136" fmla="*/ 923082 w 1576226"/>
              <a:gd name="connsiteY136" fmla="*/ 933543 h 1640228"/>
              <a:gd name="connsiteX137" fmla="*/ 896971 w 1576226"/>
              <a:gd name="connsiteY137" fmla="*/ 959654 h 1640228"/>
              <a:gd name="connsiteX138" fmla="*/ 870860 w 1576226"/>
              <a:gd name="connsiteY138" fmla="*/ 933543 h 1640228"/>
              <a:gd name="connsiteX139" fmla="*/ 896971 w 1576226"/>
              <a:gd name="connsiteY139" fmla="*/ 907432 h 1640228"/>
              <a:gd name="connsiteX140" fmla="*/ 679256 w 1576226"/>
              <a:gd name="connsiteY140" fmla="*/ 907432 h 1640228"/>
              <a:gd name="connsiteX141" fmla="*/ 705367 w 1576226"/>
              <a:gd name="connsiteY141" fmla="*/ 933543 h 1640228"/>
              <a:gd name="connsiteX142" fmla="*/ 679256 w 1576226"/>
              <a:gd name="connsiteY142" fmla="*/ 959654 h 1640228"/>
              <a:gd name="connsiteX143" fmla="*/ 653145 w 1576226"/>
              <a:gd name="connsiteY143" fmla="*/ 933543 h 1640228"/>
              <a:gd name="connsiteX144" fmla="*/ 679256 w 1576226"/>
              <a:gd name="connsiteY144" fmla="*/ 907432 h 1640228"/>
              <a:gd name="connsiteX145" fmla="*/ 461542 w 1576226"/>
              <a:gd name="connsiteY145" fmla="*/ 907432 h 1640228"/>
              <a:gd name="connsiteX146" fmla="*/ 487653 w 1576226"/>
              <a:gd name="connsiteY146" fmla="*/ 933543 h 1640228"/>
              <a:gd name="connsiteX147" fmla="*/ 461542 w 1576226"/>
              <a:gd name="connsiteY147" fmla="*/ 959654 h 1640228"/>
              <a:gd name="connsiteX148" fmla="*/ 435431 w 1576226"/>
              <a:gd name="connsiteY148" fmla="*/ 933543 h 1640228"/>
              <a:gd name="connsiteX149" fmla="*/ 461542 w 1576226"/>
              <a:gd name="connsiteY149" fmla="*/ 907432 h 1640228"/>
              <a:gd name="connsiteX150" fmla="*/ 243828 w 1576226"/>
              <a:gd name="connsiteY150" fmla="*/ 907432 h 1640228"/>
              <a:gd name="connsiteX151" fmla="*/ 269939 w 1576226"/>
              <a:gd name="connsiteY151" fmla="*/ 933543 h 1640228"/>
              <a:gd name="connsiteX152" fmla="*/ 243828 w 1576226"/>
              <a:gd name="connsiteY152" fmla="*/ 959654 h 1640228"/>
              <a:gd name="connsiteX153" fmla="*/ 217717 w 1576226"/>
              <a:gd name="connsiteY153" fmla="*/ 933543 h 1640228"/>
              <a:gd name="connsiteX154" fmla="*/ 243828 w 1576226"/>
              <a:gd name="connsiteY154" fmla="*/ 907432 h 1640228"/>
              <a:gd name="connsiteX155" fmla="*/ 26114 w 1576226"/>
              <a:gd name="connsiteY155" fmla="*/ 907432 h 1640228"/>
              <a:gd name="connsiteX156" fmla="*/ 52225 w 1576226"/>
              <a:gd name="connsiteY156" fmla="*/ 933543 h 1640228"/>
              <a:gd name="connsiteX157" fmla="*/ 26114 w 1576226"/>
              <a:gd name="connsiteY157" fmla="*/ 959654 h 1640228"/>
              <a:gd name="connsiteX158" fmla="*/ 3 w 1576226"/>
              <a:gd name="connsiteY158" fmla="*/ 933543 h 1640228"/>
              <a:gd name="connsiteX159" fmla="*/ 26114 w 1576226"/>
              <a:gd name="connsiteY159" fmla="*/ 907432 h 1640228"/>
              <a:gd name="connsiteX160" fmla="*/ 1550113 w 1576226"/>
              <a:gd name="connsiteY160" fmla="*/ 680574 h 1640228"/>
              <a:gd name="connsiteX161" fmla="*/ 1576224 w 1576226"/>
              <a:gd name="connsiteY161" fmla="*/ 706685 h 1640228"/>
              <a:gd name="connsiteX162" fmla="*/ 1550113 w 1576226"/>
              <a:gd name="connsiteY162" fmla="*/ 732796 h 1640228"/>
              <a:gd name="connsiteX163" fmla="*/ 1524002 w 1576226"/>
              <a:gd name="connsiteY163" fmla="*/ 706685 h 1640228"/>
              <a:gd name="connsiteX164" fmla="*/ 1550113 w 1576226"/>
              <a:gd name="connsiteY164" fmla="*/ 680574 h 1640228"/>
              <a:gd name="connsiteX165" fmla="*/ 1332399 w 1576226"/>
              <a:gd name="connsiteY165" fmla="*/ 680574 h 1640228"/>
              <a:gd name="connsiteX166" fmla="*/ 1358510 w 1576226"/>
              <a:gd name="connsiteY166" fmla="*/ 706685 h 1640228"/>
              <a:gd name="connsiteX167" fmla="*/ 1332399 w 1576226"/>
              <a:gd name="connsiteY167" fmla="*/ 732796 h 1640228"/>
              <a:gd name="connsiteX168" fmla="*/ 1306288 w 1576226"/>
              <a:gd name="connsiteY168" fmla="*/ 706685 h 1640228"/>
              <a:gd name="connsiteX169" fmla="*/ 1332399 w 1576226"/>
              <a:gd name="connsiteY169" fmla="*/ 680574 h 1640228"/>
              <a:gd name="connsiteX170" fmla="*/ 1114686 w 1576226"/>
              <a:gd name="connsiteY170" fmla="*/ 680574 h 1640228"/>
              <a:gd name="connsiteX171" fmla="*/ 1140797 w 1576226"/>
              <a:gd name="connsiteY171" fmla="*/ 706685 h 1640228"/>
              <a:gd name="connsiteX172" fmla="*/ 1114686 w 1576226"/>
              <a:gd name="connsiteY172" fmla="*/ 732796 h 1640228"/>
              <a:gd name="connsiteX173" fmla="*/ 1088575 w 1576226"/>
              <a:gd name="connsiteY173" fmla="*/ 706685 h 1640228"/>
              <a:gd name="connsiteX174" fmla="*/ 1114686 w 1576226"/>
              <a:gd name="connsiteY174" fmla="*/ 680574 h 1640228"/>
              <a:gd name="connsiteX175" fmla="*/ 896972 w 1576226"/>
              <a:gd name="connsiteY175" fmla="*/ 680574 h 1640228"/>
              <a:gd name="connsiteX176" fmla="*/ 923083 w 1576226"/>
              <a:gd name="connsiteY176" fmla="*/ 706685 h 1640228"/>
              <a:gd name="connsiteX177" fmla="*/ 896972 w 1576226"/>
              <a:gd name="connsiteY177" fmla="*/ 732796 h 1640228"/>
              <a:gd name="connsiteX178" fmla="*/ 870861 w 1576226"/>
              <a:gd name="connsiteY178" fmla="*/ 706685 h 1640228"/>
              <a:gd name="connsiteX179" fmla="*/ 896972 w 1576226"/>
              <a:gd name="connsiteY179" fmla="*/ 680574 h 1640228"/>
              <a:gd name="connsiteX180" fmla="*/ 679257 w 1576226"/>
              <a:gd name="connsiteY180" fmla="*/ 680574 h 1640228"/>
              <a:gd name="connsiteX181" fmla="*/ 705368 w 1576226"/>
              <a:gd name="connsiteY181" fmla="*/ 706685 h 1640228"/>
              <a:gd name="connsiteX182" fmla="*/ 679257 w 1576226"/>
              <a:gd name="connsiteY182" fmla="*/ 732796 h 1640228"/>
              <a:gd name="connsiteX183" fmla="*/ 653146 w 1576226"/>
              <a:gd name="connsiteY183" fmla="*/ 706685 h 1640228"/>
              <a:gd name="connsiteX184" fmla="*/ 679257 w 1576226"/>
              <a:gd name="connsiteY184" fmla="*/ 680574 h 1640228"/>
              <a:gd name="connsiteX185" fmla="*/ 461543 w 1576226"/>
              <a:gd name="connsiteY185" fmla="*/ 680574 h 1640228"/>
              <a:gd name="connsiteX186" fmla="*/ 487654 w 1576226"/>
              <a:gd name="connsiteY186" fmla="*/ 706685 h 1640228"/>
              <a:gd name="connsiteX187" fmla="*/ 461543 w 1576226"/>
              <a:gd name="connsiteY187" fmla="*/ 732796 h 1640228"/>
              <a:gd name="connsiteX188" fmla="*/ 435432 w 1576226"/>
              <a:gd name="connsiteY188" fmla="*/ 706685 h 1640228"/>
              <a:gd name="connsiteX189" fmla="*/ 461543 w 1576226"/>
              <a:gd name="connsiteY189" fmla="*/ 680574 h 1640228"/>
              <a:gd name="connsiteX190" fmla="*/ 243829 w 1576226"/>
              <a:gd name="connsiteY190" fmla="*/ 680574 h 1640228"/>
              <a:gd name="connsiteX191" fmla="*/ 269940 w 1576226"/>
              <a:gd name="connsiteY191" fmla="*/ 706685 h 1640228"/>
              <a:gd name="connsiteX192" fmla="*/ 243829 w 1576226"/>
              <a:gd name="connsiteY192" fmla="*/ 732796 h 1640228"/>
              <a:gd name="connsiteX193" fmla="*/ 217718 w 1576226"/>
              <a:gd name="connsiteY193" fmla="*/ 706685 h 1640228"/>
              <a:gd name="connsiteX194" fmla="*/ 243829 w 1576226"/>
              <a:gd name="connsiteY194" fmla="*/ 680574 h 1640228"/>
              <a:gd name="connsiteX195" fmla="*/ 26115 w 1576226"/>
              <a:gd name="connsiteY195" fmla="*/ 680574 h 1640228"/>
              <a:gd name="connsiteX196" fmla="*/ 52226 w 1576226"/>
              <a:gd name="connsiteY196" fmla="*/ 706685 h 1640228"/>
              <a:gd name="connsiteX197" fmla="*/ 26115 w 1576226"/>
              <a:gd name="connsiteY197" fmla="*/ 732796 h 1640228"/>
              <a:gd name="connsiteX198" fmla="*/ 4 w 1576226"/>
              <a:gd name="connsiteY198" fmla="*/ 706685 h 1640228"/>
              <a:gd name="connsiteX199" fmla="*/ 26115 w 1576226"/>
              <a:gd name="connsiteY199" fmla="*/ 680574 h 1640228"/>
              <a:gd name="connsiteX200" fmla="*/ 26116 w 1576226"/>
              <a:gd name="connsiteY200" fmla="*/ 453717 h 1640228"/>
              <a:gd name="connsiteX201" fmla="*/ 52227 w 1576226"/>
              <a:gd name="connsiteY201" fmla="*/ 479827 h 1640228"/>
              <a:gd name="connsiteX202" fmla="*/ 26116 w 1576226"/>
              <a:gd name="connsiteY202" fmla="*/ 505939 h 1640228"/>
              <a:gd name="connsiteX203" fmla="*/ 5 w 1576226"/>
              <a:gd name="connsiteY203" fmla="*/ 479827 h 1640228"/>
              <a:gd name="connsiteX204" fmla="*/ 26116 w 1576226"/>
              <a:gd name="connsiteY204" fmla="*/ 453717 h 1640228"/>
              <a:gd name="connsiteX205" fmla="*/ 243830 w 1576226"/>
              <a:gd name="connsiteY205" fmla="*/ 453717 h 1640228"/>
              <a:gd name="connsiteX206" fmla="*/ 269941 w 1576226"/>
              <a:gd name="connsiteY206" fmla="*/ 479827 h 1640228"/>
              <a:gd name="connsiteX207" fmla="*/ 243830 w 1576226"/>
              <a:gd name="connsiteY207" fmla="*/ 505939 h 1640228"/>
              <a:gd name="connsiteX208" fmla="*/ 217719 w 1576226"/>
              <a:gd name="connsiteY208" fmla="*/ 479827 h 1640228"/>
              <a:gd name="connsiteX209" fmla="*/ 243830 w 1576226"/>
              <a:gd name="connsiteY209" fmla="*/ 453717 h 1640228"/>
              <a:gd name="connsiteX210" fmla="*/ 461544 w 1576226"/>
              <a:gd name="connsiteY210" fmla="*/ 453717 h 1640228"/>
              <a:gd name="connsiteX211" fmla="*/ 487655 w 1576226"/>
              <a:gd name="connsiteY211" fmla="*/ 479827 h 1640228"/>
              <a:gd name="connsiteX212" fmla="*/ 461544 w 1576226"/>
              <a:gd name="connsiteY212" fmla="*/ 505939 h 1640228"/>
              <a:gd name="connsiteX213" fmla="*/ 435433 w 1576226"/>
              <a:gd name="connsiteY213" fmla="*/ 479827 h 1640228"/>
              <a:gd name="connsiteX214" fmla="*/ 461544 w 1576226"/>
              <a:gd name="connsiteY214" fmla="*/ 453717 h 1640228"/>
              <a:gd name="connsiteX215" fmla="*/ 679258 w 1576226"/>
              <a:gd name="connsiteY215" fmla="*/ 453717 h 1640228"/>
              <a:gd name="connsiteX216" fmla="*/ 705369 w 1576226"/>
              <a:gd name="connsiteY216" fmla="*/ 479827 h 1640228"/>
              <a:gd name="connsiteX217" fmla="*/ 679258 w 1576226"/>
              <a:gd name="connsiteY217" fmla="*/ 505939 h 1640228"/>
              <a:gd name="connsiteX218" fmla="*/ 653147 w 1576226"/>
              <a:gd name="connsiteY218" fmla="*/ 479827 h 1640228"/>
              <a:gd name="connsiteX219" fmla="*/ 679258 w 1576226"/>
              <a:gd name="connsiteY219" fmla="*/ 453717 h 1640228"/>
              <a:gd name="connsiteX220" fmla="*/ 896973 w 1576226"/>
              <a:gd name="connsiteY220" fmla="*/ 453717 h 1640228"/>
              <a:gd name="connsiteX221" fmla="*/ 923084 w 1576226"/>
              <a:gd name="connsiteY221" fmla="*/ 479827 h 1640228"/>
              <a:gd name="connsiteX222" fmla="*/ 896973 w 1576226"/>
              <a:gd name="connsiteY222" fmla="*/ 505939 h 1640228"/>
              <a:gd name="connsiteX223" fmla="*/ 870862 w 1576226"/>
              <a:gd name="connsiteY223" fmla="*/ 479827 h 1640228"/>
              <a:gd name="connsiteX224" fmla="*/ 896973 w 1576226"/>
              <a:gd name="connsiteY224" fmla="*/ 453717 h 1640228"/>
              <a:gd name="connsiteX225" fmla="*/ 1114687 w 1576226"/>
              <a:gd name="connsiteY225" fmla="*/ 453717 h 1640228"/>
              <a:gd name="connsiteX226" fmla="*/ 1140798 w 1576226"/>
              <a:gd name="connsiteY226" fmla="*/ 479827 h 1640228"/>
              <a:gd name="connsiteX227" fmla="*/ 1114687 w 1576226"/>
              <a:gd name="connsiteY227" fmla="*/ 505938 h 1640228"/>
              <a:gd name="connsiteX228" fmla="*/ 1088576 w 1576226"/>
              <a:gd name="connsiteY228" fmla="*/ 479827 h 1640228"/>
              <a:gd name="connsiteX229" fmla="*/ 1114687 w 1576226"/>
              <a:gd name="connsiteY229" fmla="*/ 453717 h 1640228"/>
              <a:gd name="connsiteX230" fmla="*/ 1332400 w 1576226"/>
              <a:gd name="connsiteY230" fmla="*/ 453716 h 1640228"/>
              <a:gd name="connsiteX231" fmla="*/ 1358511 w 1576226"/>
              <a:gd name="connsiteY231" fmla="*/ 479827 h 1640228"/>
              <a:gd name="connsiteX232" fmla="*/ 1332400 w 1576226"/>
              <a:gd name="connsiteY232" fmla="*/ 505938 h 1640228"/>
              <a:gd name="connsiteX233" fmla="*/ 1306289 w 1576226"/>
              <a:gd name="connsiteY233" fmla="*/ 479827 h 1640228"/>
              <a:gd name="connsiteX234" fmla="*/ 1332400 w 1576226"/>
              <a:gd name="connsiteY234" fmla="*/ 453716 h 1640228"/>
              <a:gd name="connsiteX235" fmla="*/ 1550114 w 1576226"/>
              <a:gd name="connsiteY235" fmla="*/ 453716 h 1640228"/>
              <a:gd name="connsiteX236" fmla="*/ 1576225 w 1576226"/>
              <a:gd name="connsiteY236" fmla="*/ 479827 h 1640228"/>
              <a:gd name="connsiteX237" fmla="*/ 1550114 w 1576226"/>
              <a:gd name="connsiteY237" fmla="*/ 505938 h 1640228"/>
              <a:gd name="connsiteX238" fmla="*/ 1524003 w 1576226"/>
              <a:gd name="connsiteY238" fmla="*/ 479827 h 1640228"/>
              <a:gd name="connsiteX239" fmla="*/ 1550114 w 1576226"/>
              <a:gd name="connsiteY239" fmla="*/ 453716 h 1640228"/>
              <a:gd name="connsiteX240" fmla="*/ 1114688 w 1576226"/>
              <a:gd name="connsiteY240" fmla="*/ 226858 h 1640228"/>
              <a:gd name="connsiteX241" fmla="*/ 1140799 w 1576226"/>
              <a:gd name="connsiteY241" fmla="*/ 252969 h 1640228"/>
              <a:gd name="connsiteX242" fmla="*/ 1114688 w 1576226"/>
              <a:gd name="connsiteY242" fmla="*/ 279080 h 1640228"/>
              <a:gd name="connsiteX243" fmla="*/ 1088577 w 1576226"/>
              <a:gd name="connsiteY243" fmla="*/ 252969 h 1640228"/>
              <a:gd name="connsiteX244" fmla="*/ 1114688 w 1576226"/>
              <a:gd name="connsiteY244" fmla="*/ 226858 h 1640228"/>
              <a:gd name="connsiteX245" fmla="*/ 896974 w 1576226"/>
              <a:gd name="connsiteY245" fmla="*/ 226858 h 1640228"/>
              <a:gd name="connsiteX246" fmla="*/ 923085 w 1576226"/>
              <a:gd name="connsiteY246" fmla="*/ 252969 h 1640228"/>
              <a:gd name="connsiteX247" fmla="*/ 896974 w 1576226"/>
              <a:gd name="connsiteY247" fmla="*/ 279080 h 1640228"/>
              <a:gd name="connsiteX248" fmla="*/ 870863 w 1576226"/>
              <a:gd name="connsiteY248" fmla="*/ 252969 h 1640228"/>
              <a:gd name="connsiteX249" fmla="*/ 896974 w 1576226"/>
              <a:gd name="connsiteY249" fmla="*/ 226858 h 1640228"/>
              <a:gd name="connsiteX250" fmla="*/ 679259 w 1576226"/>
              <a:gd name="connsiteY250" fmla="*/ 226858 h 1640228"/>
              <a:gd name="connsiteX251" fmla="*/ 705370 w 1576226"/>
              <a:gd name="connsiteY251" fmla="*/ 252970 h 1640228"/>
              <a:gd name="connsiteX252" fmla="*/ 679259 w 1576226"/>
              <a:gd name="connsiteY252" fmla="*/ 279080 h 1640228"/>
              <a:gd name="connsiteX253" fmla="*/ 653148 w 1576226"/>
              <a:gd name="connsiteY253" fmla="*/ 252970 h 1640228"/>
              <a:gd name="connsiteX254" fmla="*/ 679259 w 1576226"/>
              <a:gd name="connsiteY254" fmla="*/ 226858 h 1640228"/>
              <a:gd name="connsiteX255" fmla="*/ 461545 w 1576226"/>
              <a:gd name="connsiteY255" fmla="*/ 226858 h 1640228"/>
              <a:gd name="connsiteX256" fmla="*/ 487656 w 1576226"/>
              <a:gd name="connsiteY256" fmla="*/ 252970 h 1640228"/>
              <a:gd name="connsiteX257" fmla="*/ 461545 w 1576226"/>
              <a:gd name="connsiteY257" fmla="*/ 279081 h 1640228"/>
              <a:gd name="connsiteX258" fmla="*/ 435434 w 1576226"/>
              <a:gd name="connsiteY258" fmla="*/ 252970 h 1640228"/>
              <a:gd name="connsiteX259" fmla="*/ 461545 w 1576226"/>
              <a:gd name="connsiteY259" fmla="*/ 226858 h 1640228"/>
              <a:gd name="connsiteX260" fmla="*/ 243831 w 1576226"/>
              <a:gd name="connsiteY260" fmla="*/ 226858 h 1640228"/>
              <a:gd name="connsiteX261" fmla="*/ 269942 w 1576226"/>
              <a:gd name="connsiteY261" fmla="*/ 252970 h 1640228"/>
              <a:gd name="connsiteX262" fmla="*/ 243831 w 1576226"/>
              <a:gd name="connsiteY262" fmla="*/ 279081 h 1640228"/>
              <a:gd name="connsiteX263" fmla="*/ 217720 w 1576226"/>
              <a:gd name="connsiteY263" fmla="*/ 252970 h 1640228"/>
              <a:gd name="connsiteX264" fmla="*/ 243831 w 1576226"/>
              <a:gd name="connsiteY264" fmla="*/ 226858 h 1640228"/>
              <a:gd name="connsiteX265" fmla="*/ 26117 w 1576226"/>
              <a:gd name="connsiteY265" fmla="*/ 226858 h 1640228"/>
              <a:gd name="connsiteX266" fmla="*/ 52228 w 1576226"/>
              <a:gd name="connsiteY266" fmla="*/ 252970 h 1640228"/>
              <a:gd name="connsiteX267" fmla="*/ 26117 w 1576226"/>
              <a:gd name="connsiteY267" fmla="*/ 279081 h 1640228"/>
              <a:gd name="connsiteX268" fmla="*/ 6 w 1576226"/>
              <a:gd name="connsiteY268" fmla="*/ 252970 h 1640228"/>
              <a:gd name="connsiteX269" fmla="*/ 26117 w 1576226"/>
              <a:gd name="connsiteY269" fmla="*/ 226858 h 1640228"/>
              <a:gd name="connsiteX270" fmla="*/ 1332401 w 1576226"/>
              <a:gd name="connsiteY270" fmla="*/ 226858 h 1640228"/>
              <a:gd name="connsiteX271" fmla="*/ 1358512 w 1576226"/>
              <a:gd name="connsiteY271" fmla="*/ 252969 h 1640228"/>
              <a:gd name="connsiteX272" fmla="*/ 1332401 w 1576226"/>
              <a:gd name="connsiteY272" fmla="*/ 279080 h 1640228"/>
              <a:gd name="connsiteX273" fmla="*/ 1306290 w 1576226"/>
              <a:gd name="connsiteY273" fmla="*/ 252969 h 1640228"/>
              <a:gd name="connsiteX274" fmla="*/ 1332401 w 1576226"/>
              <a:gd name="connsiteY274" fmla="*/ 226858 h 1640228"/>
              <a:gd name="connsiteX275" fmla="*/ 1550115 w 1576226"/>
              <a:gd name="connsiteY275" fmla="*/ 226858 h 1640228"/>
              <a:gd name="connsiteX276" fmla="*/ 1576226 w 1576226"/>
              <a:gd name="connsiteY276" fmla="*/ 252969 h 1640228"/>
              <a:gd name="connsiteX277" fmla="*/ 1550115 w 1576226"/>
              <a:gd name="connsiteY277" fmla="*/ 279080 h 1640228"/>
              <a:gd name="connsiteX278" fmla="*/ 1524004 w 1576226"/>
              <a:gd name="connsiteY278" fmla="*/ 252969 h 1640228"/>
              <a:gd name="connsiteX279" fmla="*/ 1550115 w 1576226"/>
              <a:gd name="connsiteY279" fmla="*/ 226858 h 1640228"/>
              <a:gd name="connsiteX280" fmla="*/ 26117 w 1576226"/>
              <a:gd name="connsiteY280" fmla="*/ 2 h 1640228"/>
              <a:gd name="connsiteX281" fmla="*/ 52228 w 1576226"/>
              <a:gd name="connsiteY281" fmla="*/ 26113 h 1640228"/>
              <a:gd name="connsiteX282" fmla="*/ 26117 w 1576226"/>
              <a:gd name="connsiteY282" fmla="*/ 52224 h 1640228"/>
              <a:gd name="connsiteX283" fmla="*/ 6 w 1576226"/>
              <a:gd name="connsiteY283" fmla="*/ 26113 h 1640228"/>
              <a:gd name="connsiteX284" fmla="*/ 26117 w 1576226"/>
              <a:gd name="connsiteY284" fmla="*/ 2 h 1640228"/>
              <a:gd name="connsiteX285" fmla="*/ 243831 w 1576226"/>
              <a:gd name="connsiteY285" fmla="*/ 1 h 1640228"/>
              <a:gd name="connsiteX286" fmla="*/ 269942 w 1576226"/>
              <a:gd name="connsiteY286" fmla="*/ 26112 h 1640228"/>
              <a:gd name="connsiteX287" fmla="*/ 243831 w 1576226"/>
              <a:gd name="connsiteY287" fmla="*/ 52224 h 1640228"/>
              <a:gd name="connsiteX288" fmla="*/ 217720 w 1576226"/>
              <a:gd name="connsiteY288" fmla="*/ 26112 h 1640228"/>
              <a:gd name="connsiteX289" fmla="*/ 243831 w 1576226"/>
              <a:gd name="connsiteY289" fmla="*/ 1 h 1640228"/>
              <a:gd name="connsiteX290" fmla="*/ 461545 w 1576226"/>
              <a:gd name="connsiteY290" fmla="*/ 1 h 1640228"/>
              <a:gd name="connsiteX291" fmla="*/ 487656 w 1576226"/>
              <a:gd name="connsiteY291" fmla="*/ 26112 h 1640228"/>
              <a:gd name="connsiteX292" fmla="*/ 461545 w 1576226"/>
              <a:gd name="connsiteY292" fmla="*/ 52224 h 1640228"/>
              <a:gd name="connsiteX293" fmla="*/ 435434 w 1576226"/>
              <a:gd name="connsiteY293" fmla="*/ 26112 h 1640228"/>
              <a:gd name="connsiteX294" fmla="*/ 461545 w 1576226"/>
              <a:gd name="connsiteY294" fmla="*/ 1 h 1640228"/>
              <a:gd name="connsiteX295" fmla="*/ 679259 w 1576226"/>
              <a:gd name="connsiteY295" fmla="*/ 1 h 1640228"/>
              <a:gd name="connsiteX296" fmla="*/ 705370 w 1576226"/>
              <a:gd name="connsiteY296" fmla="*/ 26112 h 1640228"/>
              <a:gd name="connsiteX297" fmla="*/ 679259 w 1576226"/>
              <a:gd name="connsiteY297" fmla="*/ 52223 h 1640228"/>
              <a:gd name="connsiteX298" fmla="*/ 653148 w 1576226"/>
              <a:gd name="connsiteY298" fmla="*/ 26112 h 1640228"/>
              <a:gd name="connsiteX299" fmla="*/ 679259 w 1576226"/>
              <a:gd name="connsiteY299" fmla="*/ 1 h 1640228"/>
              <a:gd name="connsiteX300" fmla="*/ 896974 w 1576226"/>
              <a:gd name="connsiteY300" fmla="*/ 1 h 1640228"/>
              <a:gd name="connsiteX301" fmla="*/ 923085 w 1576226"/>
              <a:gd name="connsiteY301" fmla="*/ 26112 h 1640228"/>
              <a:gd name="connsiteX302" fmla="*/ 896974 w 1576226"/>
              <a:gd name="connsiteY302" fmla="*/ 52223 h 1640228"/>
              <a:gd name="connsiteX303" fmla="*/ 870863 w 1576226"/>
              <a:gd name="connsiteY303" fmla="*/ 26112 h 1640228"/>
              <a:gd name="connsiteX304" fmla="*/ 896974 w 1576226"/>
              <a:gd name="connsiteY304" fmla="*/ 1 h 1640228"/>
              <a:gd name="connsiteX305" fmla="*/ 1114688 w 1576226"/>
              <a:gd name="connsiteY305" fmla="*/ 1 h 1640228"/>
              <a:gd name="connsiteX306" fmla="*/ 1140799 w 1576226"/>
              <a:gd name="connsiteY306" fmla="*/ 26112 h 1640228"/>
              <a:gd name="connsiteX307" fmla="*/ 1114688 w 1576226"/>
              <a:gd name="connsiteY307" fmla="*/ 52223 h 1640228"/>
              <a:gd name="connsiteX308" fmla="*/ 1088577 w 1576226"/>
              <a:gd name="connsiteY308" fmla="*/ 26112 h 1640228"/>
              <a:gd name="connsiteX309" fmla="*/ 1114688 w 1576226"/>
              <a:gd name="connsiteY309" fmla="*/ 1 h 1640228"/>
              <a:gd name="connsiteX310" fmla="*/ 1332401 w 1576226"/>
              <a:gd name="connsiteY310" fmla="*/ 0 h 1640228"/>
              <a:gd name="connsiteX311" fmla="*/ 1358512 w 1576226"/>
              <a:gd name="connsiteY311" fmla="*/ 26111 h 1640228"/>
              <a:gd name="connsiteX312" fmla="*/ 1332401 w 1576226"/>
              <a:gd name="connsiteY312" fmla="*/ 52223 h 1640228"/>
              <a:gd name="connsiteX313" fmla="*/ 1306290 w 1576226"/>
              <a:gd name="connsiteY313" fmla="*/ 26111 h 1640228"/>
              <a:gd name="connsiteX314" fmla="*/ 1332401 w 1576226"/>
              <a:gd name="connsiteY314" fmla="*/ 0 h 1640228"/>
              <a:gd name="connsiteX315" fmla="*/ 1550115 w 1576226"/>
              <a:gd name="connsiteY315" fmla="*/ 0 h 1640228"/>
              <a:gd name="connsiteX316" fmla="*/ 1576226 w 1576226"/>
              <a:gd name="connsiteY316" fmla="*/ 26111 h 1640228"/>
              <a:gd name="connsiteX317" fmla="*/ 1550115 w 1576226"/>
              <a:gd name="connsiteY317" fmla="*/ 52222 h 1640228"/>
              <a:gd name="connsiteX318" fmla="*/ 1524004 w 1576226"/>
              <a:gd name="connsiteY318" fmla="*/ 26111 h 1640228"/>
              <a:gd name="connsiteX319" fmla="*/ 1550115 w 1576226"/>
              <a:gd name="connsiteY319" fmla="*/ 0 h 16402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Lst>
            <a:rect l="l" t="t" r="r" b="b"/>
            <a:pathLst>
              <a:path w="1576226" h="1640228">
                <a:moveTo>
                  <a:pt x="1550109" y="1588006"/>
                </a:moveTo>
                <a:cubicBezTo>
                  <a:pt x="1564530" y="1588006"/>
                  <a:pt x="1576220" y="1599696"/>
                  <a:pt x="1576220" y="1614117"/>
                </a:cubicBezTo>
                <a:cubicBezTo>
                  <a:pt x="1576220" y="1628538"/>
                  <a:pt x="1564530" y="1640228"/>
                  <a:pt x="1550109" y="1640228"/>
                </a:cubicBezTo>
                <a:cubicBezTo>
                  <a:pt x="1535688" y="1640228"/>
                  <a:pt x="1523998" y="1628538"/>
                  <a:pt x="1523998" y="1614117"/>
                </a:cubicBezTo>
                <a:cubicBezTo>
                  <a:pt x="1523998" y="1599696"/>
                  <a:pt x="1535688" y="1588006"/>
                  <a:pt x="1550109" y="1588006"/>
                </a:cubicBezTo>
                <a:close/>
                <a:moveTo>
                  <a:pt x="1332395" y="1588006"/>
                </a:moveTo>
                <a:cubicBezTo>
                  <a:pt x="1346816" y="1588006"/>
                  <a:pt x="1358506" y="1599696"/>
                  <a:pt x="1358506" y="1614117"/>
                </a:cubicBezTo>
                <a:cubicBezTo>
                  <a:pt x="1358506" y="1628538"/>
                  <a:pt x="1346816" y="1640228"/>
                  <a:pt x="1332395" y="1640228"/>
                </a:cubicBezTo>
                <a:cubicBezTo>
                  <a:pt x="1317974" y="1640228"/>
                  <a:pt x="1306284" y="1628538"/>
                  <a:pt x="1306284" y="1614117"/>
                </a:cubicBezTo>
                <a:cubicBezTo>
                  <a:pt x="1306284" y="1599696"/>
                  <a:pt x="1317974" y="1588006"/>
                  <a:pt x="1332395" y="1588006"/>
                </a:cubicBezTo>
                <a:close/>
                <a:moveTo>
                  <a:pt x="1114682" y="1588006"/>
                </a:moveTo>
                <a:cubicBezTo>
                  <a:pt x="1129103" y="1588006"/>
                  <a:pt x="1140793" y="1599696"/>
                  <a:pt x="1140793" y="1614117"/>
                </a:cubicBezTo>
                <a:cubicBezTo>
                  <a:pt x="1140793" y="1628538"/>
                  <a:pt x="1129103" y="1640228"/>
                  <a:pt x="1114682" y="1640228"/>
                </a:cubicBezTo>
                <a:cubicBezTo>
                  <a:pt x="1100261" y="1640228"/>
                  <a:pt x="1088571" y="1628538"/>
                  <a:pt x="1088571" y="1614117"/>
                </a:cubicBezTo>
                <a:cubicBezTo>
                  <a:pt x="1088571" y="1599696"/>
                  <a:pt x="1100261" y="1588006"/>
                  <a:pt x="1114682" y="1588006"/>
                </a:cubicBezTo>
                <a:close/>
                <a:moveTo>
                  <a:pt x="896968" y="1588006"/>
                </a:moveTo>
                <a:cubicBezTo>
                  <a:pt x="911389" y="1588006"/>
                  <a:pt x="923079" y="1599696"/>
                  <a:pt x="923079" y="1614117"/>
                </a:cubicBezTo>
                <a:cubicBezTo>
                  <a:pt x="923079" y="1628538"/>
                  <a:pt x="911389" y="1640228"/>
                  <a:pt x="896968" y="1640228"/>
                </a:cubicBezTo>
                <a:cubicBezTo>
                  <a:pt x="882547" y="1640228"/>
                  <a:pt x="870857" y="1628538"/>
                  <a:pt x="870857" y="1614117"/>
                </a:cubicBezTo>
                <a:cubicBezTo>
                  <a:pt x="870857" y="1599696"/>
                  <a:pt x="882547" y="1588006"/>
                  <a:pt x="896968" y="1588006"/>
                </a:cubicBezTo>
                <a:close/>
                <a:moveTo>
                  <a:pt x="679253" y="1588006"/>
                </a:moveTo>
                <a:cubicBezTo>
                  <a:pt x="693674" y="1588006"/>
                  <a:pt x="705364" y="1599696"/>
                  <a:pt x="705364" y="1614117"/>
                </a:cubicBezTo>
                <a:cubicBezTo>
                  <a:pt x="705364" y="1628538"/>
                  <a:pt x="693674" y="1640228"/>
                  <a:pt x="679253" y="1640228"/>
                </a:cubicBezTo>
                <a:cubicBezTo>
                  <a:pt x="664832" y="1640228"/>
                  <a:pt x="653142" y="1628538"/>
                  <a:pt x="653142" y="1614117"/>
                </a:cubicBezTo>
                <a:cubicBezTo>
                  <a:pt x="653142" y="1599696"/>
                  <a:pt x="664832" y="1588006"/>
                  <a:pt x="679253" y="1588006"/>
                </a:cubicBezTo>
                <a:close/>
                <a:moveTo>
                  <a:pt x="461539" y="1588006"/>
                </a:moveTo>
                <a:cubicBezTo>
                  <a:pt x="475960" y="1588006"/>
                  <a:pt x="487650" y="1599696"/>
                  <a:pt x="487650" y="1614117"/>
                </a:cubicBezTo>
                <a:cubicBezTo>
                  <a:pt x="487650" y="1628538"/>
                  <a:pt x="475960" y="1640228"/>
                  <a:pt x="461539" y="1640228"/>
                </a:cubicBezTo>
                <a:cubicBezTo>
                  <a:pt x="447118" y="1640228"/>
                  <a:pt x="435428" y="1628538"/>
                  <a:pt x="435428" y="1614117"/>
                </a:cubicBezTo>
                <a:cubicBezTo>
                  <a:pt x="435428" y="1599696"/>
                  <a:pt x="447118" y="1588006"/>
                  <a:pt x="461539" y="1588006"/>
                </a:cubicBezTo>
                <a:close/>
                <a:moveTo>
                  <a:pt x="243825" y="1588006"/>
                </a:moveTo>
                <a:cubicBezTo>
                  <a:pt x="258246" y="1588006"/>
                  <a:pt x="269936" y="1599696"/>
                  <a:pt x="269936" y="1614117"/>
                </a:cubicBezTo>
                <a:cubicBezTo>
                  <a:pt x="269936" y="1628538"/>
                  <a:pt x="258246" y="1640228"/>
                  <a:pt x="243825" y="1640228"/>
                </a:cubicBezTo>
                <a:cubicBezTo>
                  <a:pt x="229404" y="1640228"/>
                  <a:pt x="217714" y="1628538"/>
                  <a:pt x="217714" y="1614117"/>
                </a:cubicBezTo>
                <a:cubicBezTo>
                  <a:pt x="217714" y="1599696"/>
                  <a:pt x="229404" y="1588006"/>
                  <a:pt x="243825" y="1588006"/>
                </a:cubicBezTo>
                <a:close/>
                <a:moveTo>
                  <a:pt x="26111" y="1588006"/>
                </a:moveTo>
                <a:cubicBezTo>
                  <a:pt x="40532" y="1588006"/>
                  <a:pt x="52222" y="1599696"/>
                  <a:pt x="52222" y="1614117"/>
                </a:cubicBezTo>
                <a:cubicBezTo>
                  <a:pt x="52222" y="1628538"/>
                  <a:pt x="40532" y="1640228"/>
                  <a:pt x="26111" y="1640228"/>
                </a:cubicBezTo>
                <a:cubicBezTo>
                  <a:pt x="11690" y="1640228"/>
                  <a:pt x="0" y="1628538"/>
                  <a:pt x="0" y="1614117"/>
                </a:cubicBezTo>
                <a:cubicBezTo>
                  <a:pt x="0" y="1599696"/>
                  <a:pt x="11690" y="1588006"/>
                  <a:pt x="26111" y="1588006"/>
                </a:cubicBezTo>
                <a:close/>
                <a:moveTo>
                  <a:pt x="1550110" y="1361148"/>
                </a:moveTo>
                <a:cubicBezTo>
                  <a:pt x="1564531" y="1361148"/>
                  <a:pt x="1576221" y="1372838"/>
                  <a:pt x="1576221" y="1387259"/>
                </a:cubicBezTo>
                <a:cubicBezTo>
                  <a:pt x="1576221" y="1401680"/>
                  <a:pt x="1564531" y="1413370"/>
                  <a:pt x="1550110" y="1413370"/>
                </a:cubicBezTo>
                <a:cubicBezTo>
                  <a:pt x="1535689" y="1413370"/>
                  <a:pt x="1523999" y="1401680"/>
                  <a:pt x="1523999" y="1387259"/>
                </a:cubicBezTo>
                <a:cubicBezTo>
                  <a:pt x="1523999" y="1372838"/>
                  <a:pt x="1535689" y="1361148"/>
                  <a:pt x="1550110" y="1361148"/>
                </a:cubicBezTo>
                <a:close/>
                <a:moveTo>
                  <a:pt x="1332396" y="1361148"/>
                </a:moveTo>
                <a:cubicBezTo>
                  <a:pt x="1346817" y="1361148"/>
                  <a:pt x="1358507" y="1372838"/>
                  <a:pt x="1358507" y="1387259"/>
                </a:cubicBezTo>
                <a:cubicBezTo>
                  <a:pt x="1358507" y="1401680"/>
                  <a:pt x="1346817" y="1413370"/>
                  <a:pt x="1332396" y="1413370"/>
                </a:cubicBezTo>
                <a:cubicBezTo>
                  <a:pt x="1317975" y="1413370"/>
                  <a:pt x="1306285" y="1401680"/>
                  <a:pt x="1306285" y="1387259"/>
                </a:cubicBezTo>
                <a:cubicBezTo>
                  <a:pt x="1306285" y="1372838"/>
                  <a:pt x="1317975" y="1361148"/>
                  <a:pt x="1332396" y="1361148"/>
                </a:cubicBezTo>
                <a:close/>
                <a:moveTo>
                  <a:pt x="1114683" y="1361148"/>
                </a:moveTo>
                <a:cubicBezTo>
                  <a:pt x="1129104" y="1361148"/>
                  <a:pt x="1140794" y="1372838"/>
                  <a:pt x="1140794" y="1387259"/>
                </a:cubicBezTo>
                <a:cubicBezTo>
                  <a:pt x="1140794" y="1401680"/>
                  <a:pt x="1129104" y="1413370"/>
                  <a:pt x="1114683" y="1413370"/>
                </a:cubicBezTo>
                <a:cubicBezTo>
                  <a:pt x="1100262" y="1413370"/>
                  <a:pt x="1088572" y="1401680"/>
                  <a:pt x="1088572" y="1387259"/>
                </a:cubicBezTo>
                <a:cubicBezTo>
                  <a:pt x="1088572" y="1372838"/>
                  <a:pt x="1100262" y="1361148"/>
                  <a:pt x="1114683" y="1361148"/>
                </a:cubicBezTo>
                <a:close/>
                <a:moveTo>
                  <a:pt x="896969" y="1361148"/>
                </a:moveTo>
                <a:cubicBezTo>
                  <a:pt x="911390" y="1361148"/>
                  <a:pt x="923080" y="1372838"/>
                  <a:pt x="923080" y="1387259"/>
                </a:cubicBezTo>
                <a:cubicBezTo>
                  <a:pt x="923080" y="1401680"/>
                  <a:pt x="911390" y="1413370"/>
                  <a:pt x="896969" y="1413370"/>
                </a:cubicBezTo>
                <a:cubicBezTo>
                  <a:pt x="882548" y="1413370"/>
                  <a:pt x="870858" y="1401680"/>
                  <a:pt x="870858" y="1387259"/>
                </a:cubicBezTo>
                <a:cubicBezTo>
                  <a:pt x="870858" y="1372838"/>
                  <a:pt x="882548" y="1361148"/>
                  <a:pt x="896969" y="1361148"/>
                </a:cubicBezTo>
                <a:close/>
                <a:moveTo>
                  <a:pt x="679254" y="1361148"/>
                </a:moveTo>
                <a:cubicBezTo>
                  <a:pt x="693675" y="1361148"/>
                  <a:pt x="705365" y="1372838"/>
                  <a:pt x="705365" y="1387259"/>
                </a:cubicBezTo>
                <a:cubicBezTo>
                  <a:pt x="705365" y="1401680"/>
                  <a:pt x="693675" y="1413370"/>
                  <a:pt x="679254" y="1413370"/>
                </a:cubicBezTo>
                <a:cubicBezTo>
                  <a:pt x="664833" y="1413370"/>
                  <a:pt x="653143" y="1401680"/>
                  <a:pt x="653143" y="1387259"/>
                </a:cubicBezTo>
                <a:cubicBezTo>
                  <a:pt x="653143" y="1372838"/>
                  <a:pt x="664833" y="1361148"/>
                  <a:pt x="679254" y="1361148"/>
                </a:cubicBezTo>
                <a:close/>
                <a:moveTo>
                  <a:pt x="461540" y="1361148"/>
                </a:moveTo>
                <a:cubicBezTo>
                  <a:pt x="475961" y="1361148"/>
                  <a:pt x="487651" y="1372838"/>
                  <a:pt x="487651" y="1387259"/>
                </a:cubicBezTo>
                <a:cubicBezTo>
                  <a:pt x="487651" y="1401680"/>
                  <a:pt x="475961" y="1413370"/>
                  <a:pt x="461540" y="1413370"/>
                </a:cubicBezTo>
                <a:cubicBezTo>
                  <a:pt x="447119" y="1413370"/>
                  <a:pt x="435429" y="1401680"/>
                  <a:pt x="435429" y="1387259"/>
                </a:cubicBezTo>
                <a:cubicBezTo>
                  <a:pt x="435429" y="1372838"/>
                  <a:pt x="447119" y="1361148"/>
                  <a:pt x="461540" y="1361148"/>
                </a:cubicBezTo>
                <a:close/>
                <a:moveTo>
                  <a:pt x="243826" y="1361148"/>
                </a:moveTo>
                <a:cubicBezTo>
                  <a:pt x="258247" y="1361148"/>
                  <a:pt x="269937" y="1372838"/>
                  <a:pt x="269937" y="1387259"/>
                </a:cubicBezTo>
                <a:cubicBezTo>
                  <a:pt x="269937" y="1401680"/>
                  <a:pt x="258247" y="1413370"/>
                  <a:pt x="243826" y="1413370"/>
                </a:cubicBezTo>
                <a:cubicBezTo>
                  <a:pt x="229405" y="1413370"/>
                  <a:pt x="217715" y="1401680"/>
                  <a:pt x="217715" y="1387259"/>
                </a:cubicBezTo>
                <a:cubicBezTo>
                  <a:pt x="217715" y="1372838"/>
                  <a:pt x="229405" y="1361148"/>
                  <a:pt x="243826" y="1361148"/>
                </a:cubicBezTo>
                <a:close/>
                <a:moveTo>
                  <a:pt x="26112" y="1361148"/>
                </a:moveTo>
                <a:cubicBezTo>
                  <a:pt x="40533" y="1361148"/>
                  <a:pt x="52223" y="1372838"/>
                  <a:pt x="52223" y="1387259"/>
                </a:cubicBezTo>
                <a:cubicBezTo>
                  <a:pt x="52223" y="1401680"/>
                  <a:pt x="40533" y="1413370"/>
                  <a:pt x="26112" y="1413370"/>
                </a:cubicBezTo>
                <a:cubicBezTo>
                  <a:pt x="11691" y="1413370"/>
                  <a:pt x="1" y="1401680"/>
                  <a:pt x="1" y="1387259"/>
                </a:cubicBezTo>
                <a:cubicBezTo>
                  <a:pt x="1" y="1372838"/>
                  <a:pt x="11691" y="1361148"/>
                  <a:pt x="26112" y="1361148"/>
                </a:cubicBezTo>
                <a:close/>
                <a:moveTo>
                  <a:pt x="1550111" y="1134290"/>
                </a:moveTo>
                <a:cubicBezTo>
                  <a:pt x="1564532" y="1134290"/>
                  <a:pt x="1576222" y="1145980"/>
                  <a:pt x="1576222" y="1160401"/>
                </a:cubicBezTo>
                <a:cubicBezTo>
                  <a:pt x="1576222" y="1174822"/>
                  <a:pt x="1564532" y="1186512"/>
                  <a:pt x="1550111" y="1186512"/>
                </a:cubicBezTo>
                <a:cubicBezTo>
                  <a:pt x="1535690" y="1186512"/>
                  <a:pt x="1524000" y="1174822"/>
                  <a:pt x="1524000" y="1160401"/>
                </a:cubicBezTo>
                <a:cubicBezTo>
                  <a:pt x="1524000" y="1145980"/>
                  <a:pt x="1535690" y="1134290"/>
                  <a:pt x="1550111" y="1134290"/>
                </a:cubicBezTo>
                <a:close/>
                <a:moveTo>
                  <a:pt x="1332397" y="1134290"/>
                </a:moveTo>
                <a:cubicBezTo>
                  <a:pt x="1346818" y="1134290"/>
                  <a:pt x="1358508" y="1145980"/>
                  <a:pt x="1358508" y="1160401"/>
                </a:cubicBezTo>
                <a:cubicBezTo>
                  <a:pt x="1358508" y="1174822"/>
                  <a:pt x="1346818" y="1186512"/>
                  <a:pt x="1332397" y="1186512"/>
                </a:cubicBezTo>
                <a:cubicBezTo>
                  <a:pt x="1317976" y="1186512"/>
                  <a:pt x="1306286" y="1174822"/>
                  <a:pt x="1306286" y="1160401"/>
                </a:cubicBezTo>
                <a:cubicBezTo>
                  <a:pt x="1306286" y="1145980"/>
                  <a:pt x="1317976" y="1134290"/>
                  <a:pt x="1332397" y="1134290"/>
                </a:cubicBezTo>
                <a:close/>
                <a:moveTo>
                  <a:pt x="1114684" y="1134290"/>
                </a:moveTo>
                <a:cubicBezTo>
                  <a:pt x="1129105" y="1134290"/>
                  <a:pt x="1140795" y="1145980"/>
                  <a:pt x="1140795" y="1160401"/>
                </a:cubicBezTo>
                <a:cubicBezTo>
                  <a:pt x="1140795" y="1174822"/>
                  <a:pt x="1129105" y="1186512"/>
                  <a:pt x="1114684" y="1186512"/>
                </a:cubicBezTo>
                <a:cubicBezTo>
                  <a:pt x="1100263" y="1186512"/>
                  <a:pt x="1088573" y="1174822"/>
                  <a:pt x="1088573" y="1160401"/>
                </a:cubicBezTo>
                <a:cubicBezTo>
                  <a:pt x="1088573" y="1145980"/>
                  <a:pt x="1100263" y="1134290"/>
                  <a:pt x="1114684" y="1134290"/>
                </a:cubicBezTo>
                <a:close/>
                <a:moveTo>
                  <a:pt x="896970" y="1134290"/>
                </a:moveTo>
                <a:cubicBezTo>
                  <a:pt x="911391" y="1134290"/>
                  <a:pt x="923081" y="1145980"/>
                  <a:pt x="923081" y="1160401"/>
                </a:cubicBezTo>
                <a:cubicBezTo>
                  <a:pt x="923081" y="1174822"/>
                  <a:pt x="911391" y="1186512"/>
                  <a:pt x="896970" y="1186512"/>
                </a:cubicBezTo>
                <a:cubicBezTo>
                  <a:pt x="882549" y="1186512"/>
                  <a:pt x="870859" y="1174822"/>
                  <a:pt x="870859" y="1160401"/>
                </a:cubicBezTo>
                <a:cubicBezTo>
                  <a:pt x="870859" y="1145980"/>
                  <a:pt x="882549" y="1134290"/>
                  <a:pt x="896970" y="1134290"/>
                </a:cubicBezTo>
                <a:close/>
                <a:moveTo>
                  <a:pt x="679255" y="1134290"/>
                </a:moveTo>
                <a:cubicBezTo>
                  <a:pt x="693676" y="1134290"/>
                  <a:pt x="705366" y="1145980"/>
                  <a:pt x="705366" y="1160401"/>
                </a:cubicBezTo>
                <a:cubicBezTo>
                  <a:pt x="705366" y="1174822"/>
                  <a:pt x="693676" y="1186512"/>
                  <a:pt x="679255" y="1186512"/>
                </a:cubicBezTo>
                <a:cubicBezTo>
                  <a:pt x="664834" y="1186512"/>
                  <a:pt x="653144" y="1174822"/>
                  <a:pt x="653144" y="1160401"/>
                </a:cubicBezTo>
                <a:cubicBezTo>
                  <a:pt x="653144" y="1145980"/>
                  <a:pt x="664834" y="1134290"/>
                  <a:pt x="679255" y="1134290"/>
                </a:cubicBezTo>
                <a:close/>
                <a:moveTo>
                  <a:pt x="461541" y="1134290"/>
                </a:moveTo>
                <a:cubicBezTo>
                  <a:pt x="475962" y="1134290"/>
                  <a:pt x="487652" y="1145980"/>
                  <a:pt x="487652" y="1160401"/>
                </a:cubicBezTo>
                <a:cubicBezTo>
                  <a:pt x="487652" y="1174822"/>
                  <a:pt x="475962" y="1186512"/>
                  <a:pt x="461541" y="1186512"/>
                </a:cubicBezTo>
                <a:cubicBezTo>
                  <a:pt x="447120" y="1186512"/>
                  <a:pt x="435430" y="1174822"/>
                  <a:pt x="435430" y="1160401"/>
                </a:cubicBezTo>
                <a:cubicBezTo>
                  <a:pt x="435430" y="1145980"/>
                  <a:pt x="447120" y="1134290"/>
                  <a:pt x="461541" y="1134290"/>
                </a:cubicBezTo>
                <a:close/>
                <a:moveTo>
                  <a:pt x="243827" y="1134290"/>
                </a:moveTo>
                <a:cubicBezTo>
                  <a:pt x="258248" y="1134290"/>
                  <a:pt x="269938" y="1145980"/>
                  <a:pt x="269938" y="1160401"/>
                </a:cubicBezTo>
                <a:cubicBezTo>
                  <a:pt x="269938" y="1174822"/>
                  <a:pt x="258248" y="1186512"/>
                  <a:pt x="243827" y="1186512"/>
                </a:cubicBezTo>
                <a:cubicBezTo>
                  <a:pt x="229406" y="1186512"/>
                  <a:pt x="217716" y="1174822"/>
                  <a:pt x="217716" y="1160401"/>
                </a:cubicBezTo>
                <a:cubicBezTo>
                  <a:pt x="217716" y="1145980"/>
                  <a:pt x="229406" y="1134290"/>
                  <a:pt x="243827" y="1134290"/>
                </a:cubicBezTo>
                <a:close/>
                <a:moveTo>
                  <a:pt x="26113" y="1134290"/>
                </a:moveTo>
                <a:cubicBezTo>
                  <a:pt x="40534" y="1134290"/>
                  <a:pt x="52224" y="1145980"/>
                  <a:pt x="52224" y="1160401"/>
                </a:cubicBezTo>
                <a:cubicBezTo>
                  <a:pt x="52224" y="1174822"/>
                  <a:pt x="40534" y="1186512"/>
                  <a:pt x="26113" y="1186512"/>
                </a:cubicBezTo>
                <a:cubicBezTo>
                  <a:pt x="11692" y="1186512"/>
                  <a:pt x="2" y="1174822"/>
                  <a:pt x="2" y="1160401"/>
                </a:cubicBezTo>
                <a:cubicBezTo>
                  <a:pt x="2" y="1145980"/>
                  <a:pt x="11692" y="1134290"/>
                  <a:pt x="26113" y="1134290"/>
                </a:cubicBezTo>
                <a:close/>
                <a:moveTo>
                  <a:pt x="1550112" y="907432"/>
                </a:moveTo>
                <a:cubicBezTo>
                  <a:pt x="1564533" y="907432"/>
                  <a:pt x="1576223" y="919122"/>
                  <a:pt x="1576223" y="933543"/>
                </a:cubicBezTo>
                <a:cubicBezTo>
                  <a:pt x="1576223" y="947964"/>
                  <a:pt x="1564533" y="959654"/>
                  <a:pt x="1550112" y="959654"/>
                </a:cubicBezTo>
                <a:cubicBezTo>
                  <a:pt x="1535691" y="959654"/>
                  <a:pt x="1524001" y="947964"/>
                  <a:pt x="1524001" y="933543"/>
                </a:cubicBezTo>
                <a:cubicBezTo>
                  <a:pt x="1524001" y="919122"/>
                  <a:pt x="1535691" y="907432"/>
                  <a:pt x="1550112" y="907432"/>
                </a:cubicBezTo>
                <a:close/>
                <a:moveTo>
                  <a:pt x="1332398" y="907432"/>
                </a:moveTo>
                <a:cubicBezTo>
                  <a:pt x="1346819" y="907432"/>
                  <a:pt x="1358509" y="919122"/>
                  <a:pt x="1358509" y="933543"/>
                </a:cubicBezTo>
                <a:cubicBezTo>
                  <a:pt x="1358509" y="947964"/>
                  <a:pt x="1346819" y="959654"/>
                  <a:pt x="1332398" y="959654"/>
                </a:cubicBezTo>
                <a:cubicBezTo>
                  <a:pt x="1317977" y="959654"/>
                  <a:pt x="1306287" y="947964"/>
                  <a:pt x="1306287" y="933543"/>
                </a:cubicBezTo>
                <a:cubicBezTo>
                  <a:pt x="1306287" y="919122"/>
                  <a:pt x="1317977" y="907432"/>
                  <a:pt x="1332398" y="907432"/>
                </a:cubicBezTo>
                <a:close/>
                <a:moveTo>
                  <a:pt x="1114685" y="907432"/>
                </a:moveTo>
                <a:cubicBezTo>
                  <a:pt x="1129106" y="907432"/>
                  <a:pt x="1140796" y="919122"/>
                  <a:pt x="1140796" y="933543"/>
                </a:cubicBezTo>
                <a:cubicBezTo>
                  <a:pt x="1140796" y="947964"/>
                  <a:pt x="1129106" y="959654"/>
                  <a:pt x="1114685" y="959654"/>
                </a:cubicBezTo>
                <a:cubicBezTo>
                  <a:pt x="1100264" y="959654"/>
                  <a:pt x="1088574" y="947964"/>
                  <a:pt x="1088574" y="933543"/>
                </a:cubicBezTo>
                <a:cubicBezTo>
                  <a:pt x="1088574" y="919122"/>
                  <a:pt x="1100264" y="907432"/>
                  <a:pt x="1114685" y="907432"/>
                </a:cubicBezTo>
                <a:close/>
                <a:moveTo>
                  <a:pt x="896971" y="907432"/>
                </a:moveTo>
                <a:cubicBezTo>
                  <a:pt x="911392" y="907432"/>
                  <a:pt x="923082" y="919122"/>
                  <a:pt x="923082" y="933543"/>
                </a:cubicBezTo>
                <a:cubicBezTo>
                  <a:pt x="923082" y="947964"/>
                  <a:pt x="911392" y="959654"/>
                  <a:pt x="896971" y="959654"/>
                </a:cubicBezTo>
                <a:cubicBezTo>
                  <a:pt x="882550" y="959654"/>
                  <a:pt x="870860" y="947964"/>
                  <a:pt x="870860" y="933543"/>
                </a:cubicBezTo>
                <a:cubicBezTo>
                  <a:pt x="870860" y="919122"/>
                  <a:pt x="882550" y="907432"/>
                  <a:pt x="896971" y="907432"/>
                </a:cubicBezTo>
                <a:close/>
                <a:moveTo>
                  <a:pt x="679256" y="907432"/>
                </a:moveTo>
                <a:cubicBezTo>
                  <a:pt x="693677" y="907432"/>
                  <a:pt x="705367" y="919122"/>
                  <a:pt x="705367" y="933543"/>
                </a:cubicBezTo>
                <a:cubicBezTo>
                  <a:pt x="705367" y="947964"/>
                  <a:pt x="693677" y="959654"/>
                  <a:pt x="679256" y="959654"/>
                </a:cubicBezTo>
                <a:cubicBezTo>
                  <a:pt x="664835" y="959654"/>
                  <a:pt x="653145" y="947964"/>
                  <a:pt x="653145" y="933543"/>
                </a:cubicBezTo>
                <a:cubicBezTo>
                  <a:pt x="653145" y="919122"/>
                  <a:pt x="664835" y="907432"/>
                  <a:pt x="679256" y="907432"/>
                </a:cubicBezTo>
                <a:close/>
                <a:moveTo>
                  <a:pt x="461542" y="907432"/>
                </a:moveTo>
                <a:cubicBezTo>
                  <a:pt x="475963" y="907432"/>
                  <a:pt x="487653" y="919122"/>
                  <a:pt x="487653" y="933543"/>
                </a:cubicBezTo>
                <a:cubicBezTo>
                  <a:pt x="487653" y="947964"/>
                  <a:pt x="475963" y="959654"/>
                  <a:pt x="461542" y="959654"/>
                </a:cubicBezTo>
                <a:cubicBezTo>
                  <a:pt x="447121" y="959654"/>
                  <a:pt x="435431" y="947964"/>
                  <a:pt x="435431" y="933543"/>
                </a:cubicBezTo>
                <a:cubicBezTo>
                  <a:pt x="435431" y="919122"/>
                  <a:pt x="447121" y="907432"/>
                  <a:pt x="461542" y="907432"/>
                </a:cubicBezTo>
                <a:close/>
                <a:moveTo>
                  <a:pt x="243828" y="907432"/>
                </a:moveTo>
                <a:cubicBezTo>
                  <a:pt x="258249" y="907432"/>
                  <a:pt x="269939" y="919122"/>
                  <a:pt x="269939" y="933543"/>
                </a:cubicBezTo>
                <a:cubicBezTo>
                  <a:pt x="269939" y="947964"/>
                  <a:pt x="258249" y="959654"/>
                  <a:pt x="243828" y="959654"/>
                </a:cubicBezTo>
                <a:cubicBezTo>
                  <a:pt x="229407" y="959654"/>
                  <a:pt x="217717" y="947964"/>
                  <a:pt x="217717" y="933543"/>
                </a:cubicBezTo>
                <a:cubicBezTo>
                  <a:pt x="217717" y="919122"/>
                  <a:pt x="229407" y="907432"/>
                  <a:pt x="243828" y="907432"/>
                </a:cubicBezTo>
                <a:close/>
                <a:moveTo>
                  <a:pt x="26114" y="907432"/>
                </a:moveTo>
                <a:cubicBezTo>
                  <a:pt x="40535" y="907432"/>
                  <a:pt x="52225" y="919122"/>
                  <a:pt x="52225" y="933543"/>
                </a:cubicBezTo>
                <a:cubicBezTo>
                  <a:pt x="52225" y="947964"/>
                  <a:pt x="40535" y="959654"/>
                  <a:pt x="26114" y="959654"/>
                </a:cubicBezTo>
                <a:cubicBezTo>
                  <a:pt x="11693" y="959654"/>
                  <a:pt x="3" y="947964"/>
                  <a:pt x="3" y="933543"/>
                </a:cubicBezTo>
                <a:cubicBezTo>
                  <a:pt x="3" y="919122"/>
                  <a:pt x="11693" y="907432"/>
                  <a:pt x="26114" y="907432"/>
                </a:cubicBezTo>
                <a:close/>
                <a:moveTo>
                  <a:pt x="1550113" y="680574"/>
                </a:moveTo>
                <a:cubicBezTo>
                  <a:pt x="1564534" y="680574"/>
                  <a:pt x="1576224" y="692264"/>
                  <a:pt x="1576224" y="706685"/>
                </a:cubicBezTo>
                <a:cubicBezTo>
                  <a:pt x="1576224" y="721106"/>
                  <a:pt x="1564534" y="732796"/>
                  <a:pt x="1550113" y="732796"/>
                </a:cubicBezTo>
                <a:cubicBezTo>
                  <a:pt x="1535692" y="732796"/>
                  <a:pt x="1524002" y="721106"/>
                  <a:pt x="1524002" y="706685"/>
                </a:cubicBezTo>
                <a:cubicBezTo>
                  <a:pt x="1524002" y="692264"/>
                  <a:pt x="1535692" y="680574"/>
                  <a:pt x="1550113" y="680574"/>
                </a:cubicBezTo>
                <a:close/>
                <a:moveTo>
                  <a:pt x="1332399" y="680574"/>
                </a:moveTo>
                <a:cubicBezTo>
                  <a:pt x="1346820" y="680574"/>
                  <a:pt x="1358510" y="692264"/>
                  <a:pt x="1358510" y="706685"/>
                </a:cubicBezTo>
                <a:cubicBezTo>
                  <a:pt x="1358510" y="721106"/>
                  <a:pt x="1346820" y="732796"/>
                  <a:pt x="1332399" y="732796"/>
                </a:cubicBezTo>
                <a:cubicBezTo>
                  <a:pt x="1317978" y="732796"/>
                  <a:pt x="1306288" y="721106"/>
                  <a:pt x="1306288" y="706685"/>
                </a:cubicBezTo>
                <a:cubicBezTo>
                  <a:pt x="1306288" y="692264"/>
                  <a:pt x="1317978" y="680574"/>
                  <a:pt x="1332399" y="680574"/>
                </a:cubicBezTo>
                <a:close/>
                <a:moveTo>
                  <a:pt x="1114686" y="680574"/>
                </a:moveTo>
                <a:cubicBezTo>
                  <a:pt x="1129107" y="680574"/>
                  <a:pt x="1140797" y="692264"/>
                  <a:pt x="1140797" y="706685"/>
                </a:cubicBezTo>
                <a:cubicBezTo>
                  <a:pt x="1140797" y="721106"/>
                  <a:pt x="1129107" y="732796"/>
                  <a:pt x="1114686" y="732796"/>
                </a:cubicBezTo>
                <a:cubicBezTo>
                  <a:pt x="1100265" y="732796"/>
                  <a:pt x="1088575" y="721106"/>
                  <a:pt x="1088575" y="706685"/>
                </a:cubicBezTo>
                <a:cubicBezTo>
                  <a:pt x="1088575" y="692264"/>
                  <a:pt x="1100265" y="680574"/>
                  <a:pt x="1114686" y="680574"/>
                </a:cubicBezTo>
                <a:close/>
                <a:moveTo>
                  <a:pt x="896972" y="680574"/>
                </a:moveTo>
                <a:cubicBezTo>
                  <a:pt x="911393" y="680574"/>
                  <a:pt x="923083" y="692264"/>
                  <a:pt x="923083" y="706685"/>
                </a:cubicBezTo>
                <a:cubicBezTo>
                  <a:pt x="923083" y="721106"/>
                  <a:pt x="911393" y="732796"/>
                  <a:pt x="896972" y="732796"/>
                </a:cubicBezTo>
                <a:cubicBezTo>
                  <a:pt x="882551" y="732796"/>
                  <a:pt x="870861" y="721106"/>
                  <a:pt x="870861" y="706685"/>
                </a:cubicBezTo>
                <a:cubicBezTo>
                  <a:pt x="870861" y="692264"/>
                  <a:pt x="882551" y="680574"/>
                  <a:pt x="896972" y="680574"/>
                </a:cubicBezTo>
                <a:close/>
                <a:moveTo>
                  <a:pt x="679257" y="680574"/>
                </a:moveTo>
                <a:cubicBezTo>
                  <a:pt x="693678" y="680574"/>
                  <a:pt x="705368" y="692264"/>
                  <a:pt x="705368" y="706685"/>
                </a:cubicBezTo>
                <a:cubicBezTo>
                  <a:pt x="705368" y="721106"/>
                  <a:pt x="693678" y="732796"/>
                  <a:pt x="679257" y="732796"/>
                </a:cubicBezTo>
                <a:cubicBezTo>
                  <a:pt x="664836" y="732796"/>
                  <a:pt x="653146" y="721106"/>
                  <a:pt x="653146" y="706685"/>
                </a:cubicBezTo>
                <a:cubicBezTo>
                  <a:pt x="653146" y="692264"/>
                  <a:pt x="664836" y="680574"/>
                  <a:pt x="679257" y="680574"/>
                </a:cubicBezTo>
                <a:close/>
                <a:moveTo>
                  <a:pt x="461543" y="680574"/>
                </a:moveTo>
                <a:cubicBezTo>
                  <a:pt x="475964" y="680574"/>
                  <a:pt x="487654" y="692264"/>
                  <a:pt x="487654" y="706685"/>
                </a:cubicBezTo>
                <a:cubicBezTo>
                  <a:pt x="487654" y="721106"/>
                  <a:pt x="475964" y="732796"/>
                  <a:pt x="461543" y="732796"/>
                </a:cubicBezTo>
                <a:cubicBezTo>
                  <a:pt x="447122" y="732796"/>
                  <a:pt x="435432" y="721106"/>
                  <a:pt x="435432" y="706685"/>
                </a:cubicBezTo>
                <a:cubicBezTo>
                  <a:pt x="435432" y="692264"/>
                  <a:pt x="447122" y="680574"/>
                  <a:pt x="461543" y="680574"/>
                </a:cubicBezTo>
                <a:close/>
                <a:moveTo>
                  <a:pt x="243829" y="680574"/>
                </a:moveTo>
                <a:cubicBezTo>
                  <a:pt x="258250" y="680574"/>
                  <a:pt x="269940" y="692264"/>
                  <a:pt x="269940" y="706685"/>
                </a:cubicBezTo>
                <a:cubicBezTo>
                  <a:pt x="269940" y="721106"/>
                  <a:pt x="258250" y="732796"/>
                  <a:pt x="243829" y="732796"/>
                </a:cubicBezTo>
                <a:cubicBezTo>
                  <a:pt x="229408" y="732796"/>
                  <a:pt x="217718" y="721106"/>
                  <a:pt x="217718" y="706685"/>
                </a:cubicBezTo>
                <a:cubicBezTo>
                  <a:pt x="217718" y="692264"/>
                  <a:pt x="229408" y="680574"/>
                  <a:pt x="243829" y="680574"/>
                </a:cubicBezTo>
                <a:close/>
                <a:moveTo>
                  <a:pt x="26115" y="680574"/>
                </a:moveTo>
                <a:cubicBezTo>
                  <a:pt x="40536" y="680574"/>
                  <a:pt x="52226" y="692264"/>
                  <a:pt x="52226" y="706685"/>
                </a:cubicBezTo>
                <a:cubicBezTo>
                  <a:pt x="52226" y="721106"/>
                  <a:pt x="40536" y="732796"/>
                  <a:pt x="26115" y="732796"/>
                </a:cubicBezTo>
                <a:cubicBezTo>
                  <a:pt x="11694" y="732796"/>
                  <a:pt x="4" y="721106"/>
                  <a:pt x="4" y="706685"/>
                </a:cubicBezTo>
                <a:cubicBezTo>
                  <a:pt x="4" y="692264"/>
                  <a:pt x="11694" y="680574"/>
                  <a:pt x="26115" y="680574"/>
                </a:cubicBezTo>
                <a:close/>
                <a:moveTo>
                  <a:pt x="26116" y="453717"/>
                </a:moveTo>
                <a:cubicBezTo>
                  <a:pt x="40537" y="453717"/>
                  <a:pt x="52227" y="465407"/>
                  <a:pt x="52227" y="479827"/>
                </a:cubicBezTo>
                <a:cubicBezTo>
                  <a:pt x="52227" y="494249"/>
                  <a:pt x="40537" y="505939"/>
                  <a:pt x="26116" y="505939"/>
                </a:cubicBezTo>
                <a:cubicBezTo>
                  <a:pt x="11695" y="505939"/>
                  <a:pt x="5" y="494249"/>
                  <a:pt x="5" y="479827"/>
                </a:cubicBezTo>
                <a:cubicBezTo>
                  <a:pt x="5" y="465407"/>
                  <a:pt x="11695" y="453717"/>
                  <a:pt x="26116" y="453717"/>
                </a:cubicBezTo>
                <a:close/>
                <a:moveTo>
                  <a:pt x="243830" y="453717"/>
                </a:moveTo>
                <a:cubicBezTo>
                  <a:pt x="258251" y="453717"/>
                  <a:pt x="269941" y="465407"/>
                  <a:pt x="269941" y="479827"/>
                </a:cubicBezTo>
                <a:cubicBezTo>
                  <a:pt x="269941" y="494249"/>
                  <a:pt x="258251" y="505939"/>
                  <a:pt x="243830" y="505939"/>
                </a:cubicBezTo>
                <a:cubicBezTo>
                  <a:pt x="229409" y="505939"/>
                  <a:pt x="217719" y="494249"/>
                  <a:pt x="217719" y="479827"/>
                </a:cubicBezTo>
                <a:cubicBezTo>
                  <a:pt x="217719" y="465407"/>
                  <a:pt x="229409" y="453717"/>
                  <a:pt x="243830" y="453717"/>
                </a:cubicBezTo>
                <a:close/>
                <a:moveTo>
                  <a:pt x="461544" y="453717"/>
                </a:moveTo>
                <a:cubicBezTo>
                  <a:pt x="475965" y="453717"/>
                  <a:pt x="487655" y="465407"/>
                  <a:pt x="487655" y="479827"/>
                </a:cubicBezTo>
                <a:cubicBezTo>
                  <a:pt x="487655" y="494249"/>
                  <a:pt x="475965" y="505939"/>
                  <a:pt x="461544" y="505939"/>
                </a:cubicBezTo>
                <a:cubicBezTo>
                  <a:pt x="447123" y="505939"/>
                  <a:pt x="435433" y="494249"/>
                  <a:pt x="435433" y="479827"/>
                </a:cubicBezTo>
                <a:cubicBezTo>
                  <a:pt x="435433" y="465407"/>
                  <a:pt x="447123" y="453717"/>
                  <a:pt x="461544" y="453717"/>
                </a:cubicBezTo>
                <a:close/>
                <a:moveTo>
                  <a:pt x="679258" y="453717"/>
                </a:moveTo>
                <a:cubicBezTo>
                  <a:pt x="693679" y="453717"/>
                  <a:pt x="705369" y="465407"/>
                  <a:pt x="705369" y="479827"/>
                </a:cubicBezTo>
                <a:cubicBezTo>
                  <a:pt x="705369" y="494249"/>
                  <a:pt x="693679" y="505939"/>
                  <a:pt x="679258" y="505939"/>
                </a:cubicBezTo>
                <a:cubicBezTo>
                  <a:pt x="664837" y="505939"/>
                  <a:pt x="653147" y="494249"/>
                  <a:pt x="653147" y="479827"/>
                </a:cubicBezTo>
                <a:cubicBezTo>
                  <a:pt x="653147" y="465407"/>
                  <a:pt x="664837" y="453717"/>
                  <a:pt x="679258" y="453717"/>
                </a:cubicBezTo>
                <a:close/>
                <a:moveTo>
                  <a:pt x="896973" y="453717"/>
                </a:moveTo>
                <a:cubicBezTo>
                  <a:pt x="911394" y="453717"/>
                  <a:pt x="923084" y="465406"/>
                  <a:pt x="923084" y="479827"/>
                </a:cubicBezTo>
                <a:cubicBezTo>
                  <a:pt x="923084" y="494248"/>
                  <a:pt x="911394" y="505939"/>
                  <a:pt x="896973" y="505939"/>
                </a:cubicBezTo>
                <a:cubicBezTo>
                  <a:pt x="882552" y="505939"/>
                  <a:pt x="870862" y="494248"/>
                  <a:pt x="870862" y="479827"/>
                </a:cubicBezTo>
                <a:cubicBezTo>
                  <a:pt x="870862" y="465406"/>
                  <a:pt x="882552" y="453717"/>
                  <a:pt x="896973" y="453717"/>
                </a:cubicBezTo>
                <a:close/>
                <a:moveTo>
                  <a:pt x="1114687" y="453717"/>
                </a:moveTo>
                <a:cubicBezTo>
                  <a:pt x="1129108" y="453717"/>
                  <a:pt x="1140798" y="465406"/>
                  <a:pt x="1140798" y="479827"/>
                </a:cubicBezTo>
                <a:cubicBezTo>
                  <a:pt x="1140798" y="494248"/>
                  <a:pt x="1129108" y="505938"/>
                  <a:pt x="1114687" y="505938"/>
                </a:cubicBezTo>
                <a:cubicBezTo>
                  <a:pt x="1100266" y="505938"/>
                  <a:pt x="1088576" y="494248"/>
                  <a:pt x="1088576" y="479827"/>
                </a:cubicBezTo>
                <a:cubicBezTo>
                  <a:pt x="1088576" y="465406"/>
                  <a:pt x="1100266" y="453717"/>
                  <a:pt x="1114687" y="453717"/>
                </a:cubicBezTo>
                <a:close/>
                <a:moveTo>
                  <a:pt x="1332400" y="453716"/>
                </a:moveTo>
                <a:cubicBezTo>
                  <a:pt x="1346821" y="453716"/>
                  <a:pt x="1358511" y="465406"/>
                  <a:pt x="1358511" y="479827"/>
                </a:cubicBezTo>
                <a:cubicBezTo>
                  <a:pt x="1358511" y="494248"/>
                  <a:pt x="1346821" y="505938"/>
                  <a:pt x="1332400" y="505938"/>
                </a:cubicBezTo>
                <a:cubicBezTo>
                  <a:pt x="1317979" y="505938"/>
                  <a:pt x="1306289" y="494248"/>
                  <a:pt x="1306289" y="479827"/>
                </a:cubicBezTo>
                <a:cubicBezTo>
                  <a:pt x="1306289" y="465406"/>
                  <a:pt x="1317979" y="453716"/>
                  <a:pt x="1332400" y="453716"/>
                </a:cubicBezTo>
                <a:close/>
                <a:moveTo>
                  <a:pt x="1550114" y="453716"/>
                </a:moveTo>
                <a:cubicBezTo>
                  <a:pt x="1564535" y="453716"/>
                  <a:pt x="1576225" y="465406"/>
                  <a:pt x="1576225" y="479827"/>
                </a:cubicBezTo>
                <a:cubicBezTo>
                  <a:pt x="1576225" y="494248"/>
                  <a:pt x="1564535" y="505938"/>
                  <a:pt x="1550114" y="505938"/>
                </a:cubicBezTo>
                <a:cubicBezTo>
                  <a:pt x="1535693" y="505938"/>
                  <a:pt x="1524003" y="494248"/>
                  <a:pt x="1524003" y="479827"/>
                </a:cubicBezTo>
                <a:cubicBezTo>
                  <a:pt x="1524003" y="465406"/>
                  <a:pt x="1535693" y="453716"/>
                  <a:pt x="1550114" y="453716"/>
                </a:cubicBezTo>
                <a:close/>
                <a:moveTo>
                  <a:pt x="1114688" y="226858"/>
                </a:moveTo>
                <a:cubicBezTo>
                  <a:pt x="1129109" y="226858"/>
                  <a:pt x="1140799" y="238548"/>
                  <a:pt x="1140799" y="252969"/>
                </a:cubicBezTo>
                <a:cubicBezTo>
                  <a:pt x="1140799" y="267390"/>
                  <a:pt x="1129109" y="279080"/>
                  <a:pt x="1114688" y="279080"/>
                </a:cubicBezTo>
                <a:cubicBezTo>
                  <a:pt x="1100267" y="279080"/>
                  <a:pt x="1088577" y="267390"/>
                  <a:pt x="1088577" y="252969"/>
                </a:cubicBezTo>
                <a:cubicBezTo>
                  <a:pt x="1088577" y="238548"/>
                  <a:pt x="1100267" y="226858"/>
                  <a:pt x="1114688" y="226858"/>
                </a:cubicBezTo>
                <a:close/>
                <a:moveTo>
                  <a:pt x="896974" y="226858"/>
                </a:moveTo>
                <a:cubicBezTo>
                  <a:pt x="911395" y="226858"/>
                  <a:pt x="923085" y="238548"/>
                  <a:pt x="923085" y="252969"/>
                </a:cubicBezTo>
                <a:cubicBezTo>
                  <a:pt x="923085" y="267390"/>
                  <a:pt x="911395" y="279080"/>
                  <a:pt x="896974" y="279080"/>
                </a:cubicBezTo>
                <a:cubicBezTo>
                  <a:pt x="882553" y="279080"/>
                  <a:pt x="870863" y="267390"/>
                  <a:pt x="870863" y="252969"/>
                </a:cubicBezTo>
                <a:cubicBezTo>
                  <a:pt x="870863" y="238548"/>
                  <a:pt x="882553" y="226858"/>
                  <a:pt x="896974" y="226858"/>
                </a:cubicBezTo>
                <a:close/>
                <a:moveTo>
                  <a:pt x="679259" y="226858"/>
                </a:moveTo>
                <a:cubicBezTo>
                  <a:pt x="693680" y="226858"/>
                  <a:pt x="705370" y="238548"/>
                  <a:pt x="705370" y="252970"/>
                </a:cubicBezTo>
                <a:cubicBezTo>
                  <a:pt x="705370" y="267391"/>
                  <a:pt x="693680" y="279080"/>
                  <a:pt x="679259" y="279080"/>
                </a:cubicBezTo>
                <a:cubicBezTo>
                  <a:pt x="664838" y="279080"/>
                  <a:pt x="653148" y="267391"/>
                  <a:pt x="653148" y="252970"/>
                </a:cubicBezTo>
                <a:cubicBezTo>
                  <a:pt x="653148" y="238548"/>
                  <a:pt x="664838" y="226858"/>
                  <a:pt x="679259" y="226858"/>
                </a:cubicBezTo>
                <a:close/>
                <a:moveTo>
                  <a:pt x="461545" y="226858"/>
                </a:moveTo>
                <a:cubicBezTo>
                  <a:pt x="475966" y="226858"/>
                  <a:pt x="487656" y="238549"/>
                  <a:pt x="487656" y="252970"/>
                </a:cubicBezTo>
                <a:cubicBezTo>
                  <a:pt x="487656" y="267391"/>
                  <a:pt x="475966" y="279081"/>
                  <a:pt x="461545" y="279081"/>
                </a:cubicBezTo>
                <a:cubicBezTo>
                  <a:pt x="447124" y="279081"/>
                  <a:pt x="435434" y="267391"/>
                  <a:pt x="435434" y="252970"/>
                </a:cubicBezTo>
                <a:cubicBezTo>
                  <a:pt x="435434" y="238549"/>
                  <a:pt x="447124" y="226858"/>
                  <a:pt x="461545" y="226858"/>
                </a:cubicBezTo>
                <a:close/>
                <a:moveTo>
                  <a:pt x="243831" y="226858"/>
                </a:moveTo>
                <a:cubicBezTo>
                  <a:pt x="258252" y="226858"/>
                  <a:pt x="269942" y="238549"/>
                  <a:pt x="269942" y="252970"/>
                </a:cubicBezTo>
                <a:cubicBezTo>
                  <a:pt x="269942" y="267391"/>
                  <a:pt x="258252" y="279081"/>
                  <a:pt x="243831" y="279081"/>
                </a:cubicBezTo>
                <a:cubicBezTo>
                  <a:pt x="229410" y="279081"/>
                  <a:pt x="217720" y="267391"/>
                  <a:pt x="217720" y="252970"/>
                </a:cubicBezTo>
                <a:cubicBezTo>
                  <a:pt x="217720" y="238549"/>
                  <a:pt x="229410" y="226858"/>
                  <a:pt x="243831" y="226858"/>
                </a:cubicBezTo>
                <a:close/>
                <a:moveTo>
                  <a:pt x="26117" y="226858"/>
                </a:moveTo>
                <a:cubicBezTo>
                  <a:pt x="40538" y="226858"/>
                  <a:pt x="52228" y="238549"/>
                  <a:pt x="52228" y="252970"/>
                </a:cubicBezTo>
                <a:cubicBezTo>
                  <a:pt x="52228" y="267391"/>
                  <a:pt x="40538" y="279081"/>
                  <a:pt x="26117" y="279081"/>
                </a:cubicBezTo>
                <a:cubicBezTo>
                  <a:pt x="11696" y="279081"/>
                  <a:pt x="6" y="267391"/>
                  <a:pt x="6" y="252970"/>
                </a:cubicBezTo>
                <a:cubicBezTo>
                  <a:pt x="6" y="238549"/>
                  <a:pt x="11696" y="226858"/>
                  <a:pt x="26117" y="226858"/>
                </a:cubicBezTo>
                <a:close/>
                <a:moveTo>
                  <a:pt x="1332401" y="226858"/>
                </a:moveTo>
                <a:cubicBezTo>
                  <a:pt x="1346822" y="226858"/>
                  <a:pt x="1358512" y="238548"/>
                  <a:pt x="1358512" y="252969"/>
                </a:cubicBezTo>
                <a:cubicBezTo>
                  <a:pt x="1358512" y="267390"/>
                  <a:pt x="1346822" y="279080"/>
                  <a:pt x="1332401" y="279080"/>
                </a:cubicBezTo>
                <a:cubicBezTo>
                  <a:pt x="1317980" y="279080"/>
                  <a:pt x="1306290" y="267390"/>
                  <a:pt x="1306290" y="252969"/>
                </a:cubicBezTo>
                <a:cubicBezTo>
                  <a:pt x="1306290" y="238548"/>
                  <a:pt x="1317980" y="226858"/>
                  <a:pt x="1332401" y="226858"/>
                </a:cubicBezTo>
                <a:close/>
                <a:moveTo>
                  <a:pt x="1550115" y="226858"/>
                </a:moveTo>
                <a:cubicBezTo>
                  <a:pt x="1564536" y="226858"/>
                  <a:pt x="1576226" y="238548"/>
                  <a:pt x="1576226" y="252969"/>
                </a:cubicBezTo>
                <a:cubicBezTo>
                  <a:pt x="1576226" y="267390"/>
                  <a:pt x="1564536" y="279080"/>
                  <a:pt x="1550115" y="279080"/>
                </a:cubicBezTo>
                <a:cubicBezTo>
                  <a:pt x="1535694" y="279080"/>
                  <a:pt x="1524004" y="267390"/>
                  <a:pt x="1524004" y="252969"/>
                </a:cubicBezTo>
                <a:cubicBezTo>
                  <a:pt x="1524004" y="238548"/>
                  <a:pt x="1535694" y="226858"/>
                  <a:pt x="1550115" y="226858"/>
                </a:cubicBezTo>
                <a:close/>
                <a:moveTo>
                  <a:pt x="26117" y="2"/>
                </a:moveTo>
                <a:cubicBezTo>
                  <a:pt x="40538" y="2"/>
                  <a:pt x="52228" y="11692"/>
                  <a:pt x="52228" y="26113"/>
                </a:cubicBezTo>
                <a:cubicBezTo>
                  <a:pt x="52228" y="40534"/>
                  <a:pt x="40538" y="52224"/>
                  <a:pt x="26117" y="52224"/>
                </a:cubicBezTo>
                <a:cubicBezTo>
                  <a:pt x="11696" y="52224"/>
                  <a:pt x="6" y="40534"/>
                  <a:pt x="6" y="26113"/>
                </a:cubicBezTo>
                <a:cubicBezTo>
                  <a:pt x="6" y="11692"/>
                  <a:pt x="11696" y="2"/>
                  <a:pt x="26117" y="2"/>
                </a:cubicBezTo>
                <a:close/>
                <a:moveTo>
                  <a:pt x="243831" y="1"/>
                </a:moveTo>
                <a:cubicBezTo>
                  <a:pt x="258252" y="1"/>
                  <a:pt x="269942" y="11691"/>
                  <a:pt x="269942" y="26112"/>
                </a:cubicBezTo>
                <a:cubicBezTo>
                  <a:pt x="269942" y="40534"/>
                  <a:pt x="258252" y="52224"/>
                  <a:pt x="243831" y="52224"/>
                </a:cubicBezTo>
                <a:cubicBezTo>
                  <a:pt x="229410" y="52224"/>
                  <a:pt x="217720" y="40534"/>
                  <a:pt x="217720" y="26112"/>
                </a:cubicBezTo>
                <a:cubicBezTo>
                  <a:pt x="217720" y="11691"/>
                  <a:pt x="229410" y="1"/>
                  <a:pt x="243831" y="1"/>
                </a:cubicBezTo>
                <a:close/>
                <a:moveTo>
                  <a:pt x="461545" y="1"/>
                </a:moveTo>
                <a:cubicBezTo>
                  <a:pt x="475966" y="1"/>
                  <a:pt x="487656" y="11691"/>
                  <a:pt x="487656" y="26112"/>
                </a:cubicBezTo>
                <a:cubicBezTo>
                  <a:pt x="487656" y="40534"/>
                  <a:pt x="475966" y="52224"/>
                  <a:pt x="461545" y="52224"/>
                </a:cubicBezTo>
                <a:cubicBezTo>
                  <a:pt x="447124" y="52224"/>
                  <a:pt x="435434" y="40534"/>
                  <a:pt x="435434" y="26112"/>
                </a:cubicBezTo>
                <a:cubicBezTo>
                  <a:pt x="435434" y="11691"/>
                  <a:pt x="447124" y="1"/>
                  <a:pt x="461545" y="1"/>
                </a:cubicBezTo>
                <a:close/>
                <a:moveTo>
                  <a:pt x="679259" y="1"/>
                </a:moveTo>
                <a:cubicBezTo>
                  <a:pt x="693680" y="1"/>
                  <a:pt x="705370" y="11691"/>
                  <a:pt x="705370" y="26112"/>
                </a:cubicBezTo>
                <a:cubicBezTo>
                  <a:pt x="705370" y="40533"/>
                  <a:pt x="693680" y="52223"/>
                  <a:pt x="679259" y="52223"/>
                </a:cubicBezTo>
                <a:cubicBezTo>
                  <a:pt x="664838" y="52223"/>
                  <a:pt x="653148" y="40533"/>
                  <a:pt x="653148" y="26112"/>
                </a:cubicBezTo>
                <a:cubicBezTo>
                  <a:pt x="653148" y="11691"/>
                  <a:pt x="664838" y="1"/>
                  <a:pt x="679259" y="1"/>
                </a:cubicBezTo>
                <a:close/>
                <a:moveTo>
                  <a:pt x="896974" y="1"/>
                </a:moveTo>
                <a:cubicBezTo>
                  <a:pt x="911395" y="1"/>
                  <a:pt x="923085" y="11691"/>
                  <a:pt x="923085" y="26112"/>
                </a:cubicBezTo>
                <a:cubicBezTo>
                  <a:pt x="923085" y="40533"/>
                  <a:pt x="911395" y="52223"/>
                  <a:pt x="896974" y="52223"/>
                </a:cubicBezTo>
                <a:cubicBezTo>
                  <a:pt x="882553" y="52223"/>
                  <a:pt x="870863" y="40533"/>
                  <a:pt x="870863" y="26112"/>
                </a:cubicBezTo>
                <a:cubicBezTo>
                  <a:pt x="870863" y="11691"/>
                  <a:pt x="882553" y="1"/>
                  <a:pt x="896974" y="1"/>
                </a:cubicBezTo>
                <a:close/>
                <a:moveTo>
                  <a:pt x="1114688" y="1"/>
                </a:moveTo>
                <a:cubicBezTo>
                  <a:pt x="1129109" y="1"/>
                  <a:pt x="1140799" y="11691"/>
                  <a:pt x="1140799" y="26112"/>
                </a:cubicBezTo>
                <a:cubicBezTo>
                  <a:pt x="1140799" y="40533"/>
                  <a:pt x="1129109" y="52223"/>
                  <a:pt x="1114688" y="52223"/>
                </a:cubicBezTo>
                <a:cubicBezTo>
                  <a:pt x="1100267" y="52223"/>
                  <a:pt x="1088577" y="40533"/>
                  <a:pt x="1088577" y="26112"/>
                </a:cubicBezTo>
                <a:cubicBezTo>
                  <a:pt x="1088577" y="11691"/>
                  <a:pt x="1100267" y="1"/>
                  <a:pt x="1114688" y="1"/>
                </a:cubicBezTo>
                <a:close/>
                <a:moveTo>
                  <a:pt x="1332401" y="0"/>
                </a:moveTo>
                <a:cubicBezTo>
                  <a:pt x="1346822" y="0"/>
                  <a:pt x="1358512" y="11690"/>
                  <a:pt x="1358512" y="26111"/>
                </a:cubicBezTo>
                <a:cubicBezTo>
                  <a:pt x="1358512" y="40533"/>
                  <a:pt x="1346822" y="52223"/>
                  <a:pt x="1332401" y="52223"/>
                </a:cubicBezTo>
                <a:cubicBezTo>
                  <a:pt x="1317980" y="52223"/>
                  <a:pt x="1306290" y="40533"/>
                  <a:pt x="1306290" y="26111"/>
                </a:cubicBezTo>
                <a:cubicBezTo>
                  <a:pt x="1306290" y="11690"/>
                  <a:pt x="1317980" y="0"/>
                  <a:pt x="1332401" y="0"/>
                </a:cubicBezTo>
                <a:close/>
                <a:moveTo>
                  <a:pt x="1550115" y="0"/>
                </a:moveTo>
                <a:cubicBezTo>
                  <a:pt x="1564536" y="0"/>
                  <a:pt x="1576226" y="11690"/>
                  <a:pt x="1576226" y="26111"/>
                </a:cubicBezTo>
                <a:cubicBezTo>
                  <a:pt x="1576226" y="40532"/>
                  <a:pt x="1564536" y="52222"/>
                  <a:pt x="1550115" y="52222"/>
                </a:cubicBezTo>
                <a:cubicBezTo>
                  <a:pt x="1535694" y="52222"/>
                  <a:pt x="1524004" y="40532"/>
                  <a:pt x="1524004" y="26111"/>
                </a:cubicBezTo>
                <a:cubicBezTo>
                  <a:pt x="1524004" y="11690"/>
                  <a:pt x="1535694" y="0"/>
                  <a:pt x="1550115" y="0"/>
                </a:cubicBezTo>
                <a:close/>
              </a:path>
            </a:pathLst>
          </a:custGeom>
          <a:solidFill>
            <a:schemeClr val="accent4">
              <a:alpha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id-ID" dirty="0"/>
          </a:p>
        </p:txBody>
      </p:sp>
      <p:pic>
        <p:nvPicPr>
          <p:cNvPr id="12" name="Graphic 11">
            <a:extLst>
              <a:ext uri="{FF2B5EF4-FFF2-40B4-BE49-F238E27FC236}">
                <a16:creationId xmlns:a16="http://schemas.microsoft.com/office/drawing/2014/main" id="{956FFC20-2E61-924E-31F8-1DD0569367EF}"/>
              </a:ext>
            </a:extLst>
          </p:cNvPr>
          <p:cNvPicPr>
            <a:picLocks noChangeAspect="1"/>
          </p:cNvPicPr>
          <p:nvPr/>
        </p:nvPicPr>
        <p:blipFill>
          <a:blip r:embed="rId2">
            <a:extLst>
              <a:ext uri="{96DAC541-7B7A-43D3-8B79-37D633B846F1}">
                <asvg:svgBlip xmlns:asvg="http://schemas.microsoft.com/office/drawing/2016/SVG/main" r:embed="rId3"/>
              </a:ext>
            </a:extLst>
          </a:blip>
          <a:srcRect l="39159" b="10273"/>
          <a:stretch>
            <a:fillRect/>
          </a:stretch>
        </p:blipFill>
        <p:spPr>
          <a:xfrm rot="4093658">
            <a:off x="141960" y="-1140235"/>
            <a:ext cx="2327993" cy="3745377"/>
          </a:xfrm>
          <a:custGeom>
            <a:avLst/>
            <a:gdLst>
              <a:gd name="connsiteX0" fmla="*/ 0 w 1595303"/>
              <a:gd name="connsiteY0" fmla="*/ 1929410 h 2566593"/>
              <a:gd name="connsiteX1" fmla="*/ 770630 w 1595303"/>
              <a:gd name="connsiteY1" fmla="*/ 0 h 2566593"/>
              <a:gd name="connsiteX2" fmla="*/ 1595303 w 1595303"/>
              <a:gd name="connsiteY2" fmla="*/ 0 h 2566593"/>
              <a:gd name="connsiteX3" fmla="*/ 1595303 w 1595303"/>
              <a:gd name="connsiteY3" fmla="*/ 2566593 h 2566593"/>
            </a:gdLst>
            <a:ahLst/>
            <a:cxnLst>
              <a:cxn ang="0">
                <a:pos x="connsiteX0" y="connsiteY0"/>
              </a:cxn>
              <a:cxn ang="0">
                <a:pos x="connsiteX1" y="connsiteY1"/>
              </a:cxn>
              <a:cxn ang="0">
                <a:pos x="connsiteX2" y="connsiteY2"/>
              </a:cxn>
              <a:cxn ang="0">
                <a:pos x="connsiteX3" y="connsiteY3"/>
              </a:cxn>
            </a:cxnLst>
            <a:rect l="l" t="t" r="r" b="b"/>
            <a:pathLst>
              <a:path w="1595303" h="2566593">
                <a:moveTo>
                  <a:pt x="0" y="1929410"/>
                </a:moveTo>
                <a:lnTo>
                  <a:pt x="770630" y="0"/>
                </a:lnTo>
                <a:lnTo>
                  <a:pt x="1595303" y="0"/>
                </a:lnTo>
                <a:lnTo>
                  <a:pt x="1595303" y="2566593"/>
                </a:lnTo>
                <a:close/>
              </a:path>
            </a:pathLst>
          </a:custGeom>
          <a:effectLst>
            <a:outerShdw blurRad="406400" dist="114300" dir="6420000" sx="89000" sy="89000" algn="t" rotWithShape="0">
              <a:srgbClr val="EE9012">
                <a:alpha val="62000"/>
              </a:srgbClr>
            </a:outerShdw>
          </a:effectLst>
        </p:spPr>
      </p:pic>
      <p:pic>
        <p:nvPicPr>
          <p:cNvPr id="21" name="Picture 20"/>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0" y="385"/>
            <a:ext cx="2367419" cy="1553106"/>
          </a:xfrm>
          <a:prstGeom prst="rect">
            <a:avLst/>
          </a:prstGeom>
          <a:noFill/>
          <a:ln>
            <a:noFill/>
          </a:ln>
        </p:spPr>
      </p:pic>
      <p:graphicFrame>
        <p:nvGraphicFramePr>
          <p:cNvPr id="17" name="Picture Placeholder 16"/>
          <p:cNvGraphicFramePr>
            <a:graphicFrameLocks noGrp="1"/>
          </p:cNvGraphicFramePr>
          <p:nvPr>
            <p:ph type="pic" sz="quarter" idx="12"/>
            <p:extLst>
              <p:ext uri="{D42A27DB-BD31-4B8C-83A1-F6EECF244321}">
                <p14:modId xmlns:p14="http://schemas.microsoft.com/office/powerpoint/2010/main" val="3338667653"/>
              </p:ext>
            </p:extLst>
          </p:nvPr>
        </p:nvGraphicFramePr>
        <p:xfrm>
          <a:off x="5418138" y="0"/>
          <a:ext cx="6784975" cy="370840"/>
        </p:xfrm>
        <a:graphic>
          <a:graphicData uri="http://schemas.openxmlformats.org/drawingml/2006/table">
            <a:tbl>
              <a:tblPr firstRow="1" bandRow="1">
                <a:tableStyleId>{5C22544A-7EE6-4342-B048-85BDC9FD1C3A}</a:tableStyleId>
              </a:tblPr>
              <a:tblGrid>
                <a:gridCol w="6784975">
                  <a:extLst>
                    <a:ext uri="{9D8B030D-6E8A-4147-A177-3AD203B41FA5}">
                      <a16:colId xmlns:a16="http://schemas.microsoft.com/office/drawing/2014/main" val="20000"/>
                    </a:ext>
                  </a:extLst>
                </a:gridCol>
              </a:tblGrid>
              <a:tr h="370840">
                <a:tc>
                  <a:txBody>
                    <a:bodyPr/>
                    <a:lstStyle/>
                    <a:p>
                      <a:endParaRPr lang="en-US" dirty="0"/>
                    </a:p>
                  </a:txBody>
                  <a:tcPr/>
                </a:tc>
                <a:extLst>
                  <a:ext uri="{0D108BD9-81ED-4DB2-BD59-A6C34878D82A}">
                    <a16:rowId xmlns:a16="http://schemas.microsoft.com/office/drawing/2014/main" val="10000"/>
                  </a:ext>
                </a:extLst>
              </a:tr>
            </a:tbl>
          </a:graphicData>
        </a:graphic>
      </p:graphicFrame>
      <p:pic>
        <p:nvPicPr>
          <p:cNvPr id="23" name="Picture 22" descr="C:\Users\HP\Desktop\Agriculture.jpg"/>
          <p:cNvPicPr/>
          <p:nvPr/>
        </p:nvPicPr>
        <p:blipFill>
          <a:blip r:embed="rId5">
            <a:extLst>
              <a:ext uri="{28A0092B-C50C-407E-A947-70E740481C1C}">
                <a14:useLocalDpi xmlns:a14="http://schemas.microsoft.com/office/drawing/2010/main" val="0"/>
              </a:ext>
            </a:extLst>
          </a:blip>
          <a:srcRect/>
          <a:stretch>
            <a:fillRect/>
          </a:stretch>
        </p:blipFill>
        <p:spPr bwMode="auto">
          <a:xfrm>
            <a:off x="5395006" y="385"/>
            <a:ext cx="6805808" cy="4020855"/>
          </a:xfrm>
          <a:prstGeom prst="rect">
            <a:avLst/>
          </a:prstGeom>
          <a:noFill/>
          <a:ln>
            <a:noFill/>
          </a:ln>
        </p:spPr>
      </p:pic>
      <p:graphicFrame>
        <p:nvGraphicFramePr>
          <p:cNvPr id="20" name="Table 19"/>
          <p:cNvGraphicFramePr>
            <a:graphicFrameLocks noGrp="1"/>
          </p:cNvGraphicFramePr>
          <p:nvPr>
            <p:extLst>
              <p:ext uri="{D42A27DB-BD31-4B8C-83A1-F6EECF244321}">
                <p14:modId xmlns:p14="http://schemas.microsoft.com/office/powerpoint/2010/main" val="3371064261"/>
              </p:ext>
            </p:extLst>
          </p:nvPr>
        </p:nvGraphicFramePr>
        <p:xfrm>
          <a:off x="6302961" y="3033419"/>
          <a:ext cx="3759200" cy="396240"/>
        </p:xfrm>
        <a:graphic>
          <a:graphicData uri="http://schemas.openxmlformats.org/drawingml/2006/table">
            <a:tbl>
              <a:tblPr firstRow="1" bandRow="1">
                <a:tableStyleId>{5C22544A-7EE6-4342-B048-85BDC9FD1C3A}</a:tableStyleId>
              </a:tblPr>
              <a:tblGrid>
                <a:gridCol w="3759200">
                  <a:extLst>
                    <a:ext uri="{9D8B030D-6E8A-4147-A177-3AD203B41FA5}">
                      <a16:colId xmlns:a16="http://schemas.microsoft.com/office/drawing/2014/main" val="20000"/>
                    </a:ext>
                  </a:extLst>
                </a:gridCol>
              </a:tblGrid>
              <a:tr h="370840">
                <a:tc>
                  <a:txBody>
                    <a:bodyPr/>
                    <a:lstStyle/>
                    <a:p>
                      <a:r>
                        <a:rPr lang="en-US" sz="2000" dirty="0">
                          <a:latin typeface="Roboto Condensed"/>
                        </a:rPr>
                        <a:t>1. AGRICULTURE</a:t>
                      </a:r>
                    </a:p>
                  </a:txBody>
                  <a:tcPr>
                    <a:solidFill>
                      <a:srgbClr val="CFCF00"/>
                    </a:solidFill>
                  </a:tcPr>
                </a:tc>
                <a:extLst>
                  <a:ext uri="{0D108BD9-81ED-4DB2-BD59-A6C34878D82A}">
                    <a16:rowId xmlns:a16="http://schemas.microsoft.com/office/drawing/2014/main" val="10000"/>
                  </a:ext>
                </a:extLst>
              </a:tr>
            </a:tbl>
          </a:graphicData>
        </a:graphic>
      </p:graphicFrame>
      <p:pic>
        <p:nvPicPr>
          <p:cNvPr id="27" name="Picture 26" descr="C:\Users\HP\Desktop\Mining.jpeg"/>
          <p:cNvPicPr/>
          <p:nvPr/>
        </p:nvPicPr>
        <p:blipFill>
          <a:blip r:embed="rId6">
            <a:extLst>
              <a:ext uri="{28A0092B-C50C-407E-A947-70E740481C1C}">
                <a14:useLocalDpi xmlns:a14="http://schemas.microsoft.com/office/drawing/2010/main" val="0"/>
              </a:ext>
            </a:extLst>
          </a:blip>
          <a:srcRect/>
          <a:stretch>
            <a:fillRect/>
          </a:stretch>
        </p:blipFill>
        <p:spPr bwMode="auto">
          <a:xfrm>
            <a:off x="8978106" y="4467124"/>
            <a:ext cx="2622550" cy="1746250"/>
          </a:xfrm>
          <a:prstGeom prst="rect">
            <a:avLst/>
          </a:prstGeom>
          <a:noFill/>
          <a:ln>
            <a:noFill/>
          </a:ln>
        </p:spPr>
      </p:pic>
      <p:pic>
        <p:nvPicPr>
          <p:cNvPr id="29" name="Picture Placeholder 28" descr="C:\Users\HP\Desktop\Mining.jpeg"/>
          <p:cNvPicPr>
            <a:picLocks noGrp="1"/>
          </p:cNvPicPr>
          <p:nvPr>
            <p:ph type="pic" sz="quarter" idx="13"/>
          </p:nvPr>
        </p:nvPicPr>
        <p:blipFill>
          <a:blip r:embed="rId6">
            <a:extLst>
              <a:ext uri="{28A0092B-C50C-407E-A947-70E740481C1C}">
                <a14:useLocalDpi xmlns:a14="http://schemas.microsoft.com/office/drawing/2010/main" val="0"/>
              </a:ext>
            </a:extLst>
          </a:blip>
          <a:srcRect l="4872" r="4872"/>
          <a:stretch>
            <a:fillRect/>
          </a:stretch>
        </p:blipFill>
        <p:spPr bwMode="auto">
          <a:prstGeom prst="rect">
            <a:avLst/>
          </a:prstGeom>
          <a:noFill/>
          <a:ln>
            <a:noFill/>
          </a:ln>
        </p:spPr>
      </p:pic>
      <p:sp>
        <p:nvSpPr>
          <p:cNvPr id="25" name="Rectangle 24"/>
          <p:cNvSpPr/>
          <p:nvPr/>
        </p:nvSpPr>
        <p:spPr>
          <a:xfrm>
            <a:off x="8920988" y="6426711"/>
            <a:ext cx="2282347" cy="400110"/>
          </a:xfrm>
          <a:prstGeom prst="rect">
            <a:avLst/>
          </a:prstGeom>
          <a:solidFill>
            <a:srgbClr val="CFCF00"/>
          </a:solidFill>
        </p:spPr>
        <p:txBody>
          <a:bodyPr wrap="square">
            <a:spAutoFit/>
          </a:bodyPr>
          <a:lstStyle/>
          <a:p>
            <a:r>
              <a:rPr lang="en-US" sz="2000" dirty="0">
                <a:latin typeface="Roboto Condensed"/>
              </a:rPr>
              <a:t>MINING</a:t>
            </a:r>
          </a:p>
        </p:txBody>
      </p:sp>
      <p:pic>
        <p:nvPicPr>
          <p:cNvPr id="32" name="Picture Placeholder 31" descr="C:\Users\HP\Desktop\Manufacturing.jpg"/>
          <p:cNvPicPr>
            <a:picLocks noGrp="1"/>
          </p:cNvPicPr>
          <p:nvPr>
            <p:ph type="pic" sz="quarter" idx="14"/>
          </p:nvPr>
        </p:nvPicPr>
        <p:blipFill>
          <a:blip r:embed="rId7">
            <a:extLst>
              <a:ext uri="{28A0092B-C50C-407E-A947-70E740481C1C}">
                <a14:useLocalDpi xmlns:a14="http://schemas.microsoft.com/office/drawing/2010/main" val="0"/>
              </a:ext>
            </a:extLst>
          </a:blip>
          <a:srcRect t="5711" b="5711"/>
          <a:stretch>
            <a:fillRect/>
          </a:stretch>
        </p:blipFill>
        <p:spPr bwMode="auto">
          <a:xfrm flipH="1">
            <a:off x="3795385" y="4047219"/>
            <a:ext cx="4607931" cy="2810781"/>
          </a:xfrm>
          <a:prstGeom prst="rect">
            <a:avLst/>
          </a:prstGeom>
          <a:noFill/>
          <a:ln>
            <a:noFill/>
          </a:ln>
        </p:spPr>
      </p:pic>
      <p:sp>
        <p:nvSpPr>
          <p:cNvPr id="33" name="Rectangle 32"/>
          <p:cNvSpPr/>
          <p:nvPr/>
        </p:nvSpPr>
        <p:spPr>
          <a:xfrm>
            <a:off x="3996632" y="6454894"/>
            <a:ext cx="3431302" cy="400110"/>
          </a:xfrm>
          <a:prstGeom prst="rect">
            <a:avLst/>
          </a:prstGeom>
          <a:solidFill>
            <a:srgbClr val="CFCF00"/>
          </a:solidFill>
        </p:spPr>
        <p:txBody>
          <a:bodyPr wrap="square">
            <a:spAutoFit/>
          </a:bodyPr>
          <a:lstStyle/>
          <a:p>
            <a:r>
              <a:rPr lang="en-US" sz="2000" dirty="0">
                <a:latin typeface="Roboto Condensed"/>
              </a:rPr>
              <a:t>MANUFACTURING</a:t>
            </a:r>
          </a:p>
        </p:txBody>
      </p:sp>
      <p:pic>
        <p:nvPicPr>
          <p:cNvPr id="36" name="Picture Placeholder 35" descr="C:\Users\HP\Desktop\Tourism 1.jpg"/>
          <p:cNvPicPr>
            <a:picLocks noGrp="1"/>
          </p:cNvPicPr>
          <p:nvPr>
            <p:ph type="pic" sz="quarter" idx="15"/>
          </p:nvPr>
        </p:nvPicPr>
        <p:blipFill>
          <a:blip r:embed="rId8" cstate="print">
            <a:extLst>
              <a:ext uri="{28A0092B-C50C-407E-A947-70E740481C1C}">
                <a14:useLocalDpi xmlns:a14="http://schemas.microsoft.com/office/drawing/2010/main" val="0"/>
              </a:ext>
            </a:extLst>
          </a:blip>
          <a:srcRect t="18756" b="18756"/>
          <a:stretch>
            <a:fillRect/>
          </a:stretch>
        </p:blipFill>
        <p:spPr bwMode="auto">
          <a:xfrm flipH="1">
            <a:off x="0" y="4020855"/>
            <a:ext cx="3795386" cy="2837146"/>
          </a:xfrm>
          <a:prstGeom prst="rect">
            <a:avLst/>
          </a:prstGeom>
          <a:noFill/>
          <a:ln>
            <a:noFill/>
          </a:ln>
        </p:spPr>
      </p:pic>
      <p:sp>
        <p:nvSpPr>
          <p:cNvPr id="37" name="Google Shape;745;p35">
            <a:extLst>
              <a:ext uri="{FF2B5EF4-FFF2-40B4-BE49-F238E27FC236}">
                <a16:creationId xmlns:a16="http://schemas.microsoft.com/office/drawing/2014/main" id="{5D9A325B-F6E6-3A5E-50F7-2D3D569F7572}"/>
              </a:ext>
            </a:extLst>
          </p:cNvPr>
          <p:cNvSpPr txBox="1">
            <a:spLocks/>
          </p:cNvSpPr>
          <p:nvPr/>
        </p:nvSpPr>
        <p:spPr>
          <a:xfrm>
            <a:off x="51833" y="4020854"/>
            <a:ext cx="1405293" cy="721943"/>
          </a:xfrm>
          <a:prstGeom prst="rect">
            <a:avLst/>
          </a:prstGeom>
          <a:noFill/>
        </p:spPr>
        <p:txBody>
          <a:bodyPr spcFirstLastPara="1" wrap="square" lIns="91425" tIns="91425" rIns="91425" bIns="91425" anchor="ctr" anchorCtr="0">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spcBef>
                <a:spcPts val="0"/>
              </a:spcBef>
            </a:pPr>
            <a:r>
              <a:rPr lang="en" b="1" dirty="0">
                <a:solidFill>
                  <a:schemeClr val="accent4"/>
                </a:solidFill>
                <a:latin typeface="Chivo" panose="020B0604020202020204" charset="0"/>
                <a:ea typeface="Chivo" panose="020B0604020202020204" charset="0"/>
                <a:cs typeface="Chivo" panose="020B0604020202020204" charset="0"/>
              </a:rPr>
              <a:t>02</a:t>
            </a:r>
          </a:p>
        </p:txBody>
      </p:sp>
      <p:sp>
        <p:nvSpPr>
          <p:cNvPr id="30" name="Rectangle 29"/>
          <p:cNvSpPr/>
          <p:nvPr/>
        </p:nvSpPr>
        <p:spPr>
          <a:xfrm>
            <a:off x="6075123" y="291607"/>
            <a:ext cx="914400" cy="769441"/>
          </a:xfrm>
          <a:prstGeom prst="rect">
            <a:avLst/>
          </a:prstGeom>
        </p:spPr>
        <p:txBody>
          <a:bodyPr wrap="square">
            <a:spAutoFit/>
          </a:bodyPr>
          <a:lstStyle/>
          <a:p>
            <a:pPr algn="ctr">
              <a:spcBef>
                <a:spcPts val="0"/>
              </a:spcBef>
            </a:pPr>
            <a:r>
              <a:rPr lang="en" sz="4400" b="1" dirty="0">
                <a:solidFill>
                  <a:schemeClr val="accent4"/>
                </a:solidFill>
                <a:latin typeface="Chivo" panose="020B0604020202020204" charset="0"/>
                <a:ea typeface="Chivo" panose="020B0604020202020204" charset="0"/>
                <a:cs typeface="Chivo" panose="020B0604020202020204" charset="0"/>
              </a:rPr>
              <a:t>01</a:t>
            </a:r>
          </a:p>
        </p:txBody>
      </p:sp>
      <p:sp>
        <p:nvSpPr>
          <p:cNvPr id="31" name="Rectangle 30"/>
          <p:cNvSpPr/>
          <p:nvPr/>
        </p:nvSpPr>
        <p:spPr>
          <a:xfrm>
            <a:off x="3895596" y="4197159"/>
            <a:ext cx="1039659" cy="769441"/>
          </a:xfrm>
          <a:prstGeom prst="rect">
            <a:avLst/>
          </a:prstGeom>
        </p:spPr>
        <p:txBody>
          <a:bodyPr wrap="square">
            <a:spAutoFit/>
          </a:bodyPr>
          <a:lstStyle/>
          <a:p>
            <a:pPr algn="ctr">
              <a:spcBef>
                <a:spcPts val="0"/>
              </a:spcBef>
            </a:pPr>
            <a:r>
              <a:rPr lang="en" sz="4400" b="1" dirty="0">
                <a:solidFill>
                  <a:schemeClr val="accent4"/>
                </a:solidFill>
                <a:latin typeface="Chivo" panose="020B0604020202020204" charset="0"/>
                <a:ea typeface="Chivo" panose="020B0604020202020204" charset="0"/>
                <a:cs typeface="Chivo" panose="020B0604020202020204" charset="0"/>
              </a:rPr>
              <a:t>03</a:t>
            </a:r>
          </a:p>
        </p:txBody>
      </p:sp>
      <p:sp>
        <p:nvSpPr>
          <p:cNvPr id="34" name="Rectangle 33"/>
          <p:cNvSpPr/>
          <p:nvPr/>
        </p:nvSpPr>
        <p:spPr>
          <a:xfrm>
            <a:off x="11080257" y="4282458"/>
            <a:ext cx="926921" cy="769441"/>
          </a:xfrm>
          <a:prstGeom prst="rect">
            <a:avLst/>
          </a:prstGeom>
        </p:spPr>
        <p:txBody>
          <a:bodyPr wrap="square">
            <a:spAutoFit/>
          </a:bodyPr>
          <a:lstStyle/>
          <a:p>
            <a:pPr algn="ctr">
              <a:spcBef>
                <a:spcPts val="0"/>
              </a:spcBef>
            </a:pPr>
            <a:r>
              <a:rPr lang="en" sz="4400" b="1" dirty="0">
                <a:solidFill>
                  <a:schemeClr val="accent4"/>
                </a:solidFill>
                <a:latin typeface="Chivo" panose="020B0604020202020204" charset="0"/>
                <a:ea typeface="Chivo" panose="020B0604020202020204" charset="0"/>
                <a:cs typeface="Chivo" panose="020B0604020202020204" charset="0"/>
              </a:rPr>
              <a:t>04</a:t>
            </a:r>
          </a:p>
        </p:txBody>
      </p:sp>
      <p:sp>
        <p:nvSpPr>
          <p:cNvPr id="40" name="Rectangle 39"/>
          <p:cNvSpPr/>
          <p:nvPr/>
        </p:nvSpPr>
        <p:spPr>
          <a:xfrm>
            <a:off x="163435" y="6454894"/>
            <a:ext cx="3431302" cy="400110"/>
          </a:xfrm>
          <a:prstGeom prst="rect">
            <a:avLst/>
          </a:prstGeom>
          <a:solidFill>
            <a:srgbClr val="CFCF00"/>
          </a:solidFill>
        </p:spPr>
        <p:txBody>
          <a:bodyPr wrap="square">
            <a:spAutoFit/>
          </a:bodyPr>
          <a:lstStyle/>
          <a:p>
            <a:r>
              <a:rPr lang="en-US" sz="2000" dirty="0">
                <a:latin typeface="Roboto Condensed"/>
              </a:rPr>
              <a:t>TOURISM</a:t>
            </a:r>
          </a:p>
        </p:txBody>
      </p:sp>
    </p:spTree>
    <p:extLst>
      <p:ext uri="{BB962C8B-B14F-4D97-AF65-F5344CB8AC3E}">
        <p14:creationId xmlns:p14="http://schemas.microsoft.com/office/powerpoint/2010/main" val="183170966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08857" y="152401"/>
            <a:ext cx="11952514" cy="827313"/>
          </a:xfrm>
          <a:solidFill>
            <a:srgbClr val="70AD47"/>
          </a:solidFill>
        </p:spPr>
        <p:txBody>
          <a:bodyPr/>
          <a:lstStyle/>
          <a:p>
            <a:r>
              <a:rPr lang="en-US" dirty="0"/>
              <a:t>MARKET AND TRANSPORT OPPORTUNITIES</a:t>
            </a:r>
          </a:p>
        </p:txBody>
      </p:sp>
      <p:sp>
        <p:nvSpPr>
          <p:cNvPr id="3" name="Content Placeholder 2"/>
          <p:cNvSpPr>
            <a:spLocks noGrp="1"/>
          </p:cNvSpPr>
          <p:nvPr>
            <p:ph idx="1"/>
          </p:nvPr>
        </p:nvSpPr>
        <p:spPr>
          <a:xfrm>
            <a:off x="130629" y="1219200"/>
            <a:ext cx="11952514" cy="5638800"/>
          </a:xfrm>
        </p:spPr>
        <p:txBody>
          <a:bodyPr>
            <a:normAutofit/>
          </a:bodyPr>
          <a:lstStyle/>
          <a:p>
            <a:pPr algn="just"/>
            <a:r>
              <a:rPr lang="en-US" dirty="0"/>
              <a:t>In October 2023, the U.S. government, European Union, Africa Finance Corporation (AFC), African Development Bank, and the governments of Zambia, Angola, and the Democratic Republic of Congo (DRC) signed a seven-party memorandum of understanding (MOU) to formalize their shared commitment to develop a modern rail line connecting the mineral rich regions of the DRC and Zambia to Angola’s Port Lobito, on the Atlantic Ocean. </a:t>
            </a:r>
          </a:p>
          <a:p>
            <a:pPr algn="just"/>
            <a:r>
              <a:rPr lang="en-US" dirty="0"/>
              <a:t>The project feasibility study is projected to be completed by Q1 2025.  </a:t>
            </a:r>
          </a:p>
          <a:p>
            <a:pPr algn="just"/>
            <a:r>
              <a:rPr lang="en-US" dirty="0"/>
              <a:t>The Lobito-Zambia rail line will provide a critical trade corridor for Zambian and DRC imports and exports.  </a:t>
            </a:r>
          </a:p>
          <a:p>
            <a:pPr algn="just"/>
            <a:r>
              <a:rPr lang="en-US" dirty="0"/>
              <a:t>Construction of the rail line will create ample opportunities for construction and related service contracts.  </a:t>
            </a:r>
          </a:p>
          <a:p>
            <a:pPr algn="just"/>
            <a:r>
              <a:rPr lang="en-US" dirty="0"/>
              <a:t>The MOU also calls for the project to promote sustainable investment along the corridor in the agriculture, energy, ICT, public health, and other sectors.</a:t>
            </a:r>
          </a:p>
        </p:txBody>
      </p:sp>
    </p:spTree>
    <p:extLst>
      <p:ext uri="{BB962C8B-B14F-4D97-AF65-F5344CB8AC3E}">
        <p14:creationId xmlns:p14="http://schemas.microsoft.com/office/powerpoint/2010/main" val="154557306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59229" y="163287"/>
            <a:ext cx="11462657" cy="957942"/>
          </a:xfrm>
          <a:solidFill>
            <a:srgbClr val="00B050"/>
          </a:solidFill>
        </p:spPr>
        <p:txBody>
          <a:bodyPr>
            <a:normAutofit/>
          </a:bodyPr>
          <a:lstStyle/>
          <a:p>
            <a:r>
              <a:rPr lang="en-ZW" dirty="0" err="1"/>
              <a:t>Kazungula</a:t>
            </a:r>
            <a:r>
              <a:rPr lang="en-ZW" dirty="0"/>
              <a:t> Bridge</a:t>
            </a:r>
            <a:endParaRPr lang="en-US" dirty="0"/>
          </a:p>
        </p:txBody>
      </p:sp>
      <p:sp>
        <p:nvSpPr>
          <p:cNvPr id="3" name="Content Placeholder 2"/>
          <p:cNvSpPr>
            <a:spLocks noGrp="1"/>
          </p:cNvSpPr>
          <p:nvPr>
            <p:ph idx="1"/>
          </p:nvPr>
        </p:nvSpPr>
        <p:spPr>
          <a:xfrm>
            <a:off x="337457" y="1502228"/>
            <a:ext cx="11462657" cy="5061857"/>
          </a:xfrm>
        </p:spPr>
        <p:txBody>
          <a:bodyPr>
            <a:normAutofit fontScale="85000" lnSpcReduction="20000"/>
          </a:bodyPr>
          <a:lstStyle/>
          <a:p>
            <a:pPr algn="just"/>
            <a:r>
              <a:rPr lang="en-ZW" sz="3200" dirty="0">
                <a:latin typeface="Times New Roman" pitchFamily="18" charset="0"/>
                <a:cs typeface="Times New Roman" pitchFamily="18" charset="0"/>
              </a:rPr>
              <a:t>Would link, open up markets in eight African countries</a:t>
            </a:r>
          </a:p>
          <a:p>
            <a:pPr algn="just"/>
            <a:r>
              <a:rPr lang="en-ZW" sz="3200" dirty="0">
                <a:latin typeface="Times New Roman" pitchFamily="18" charset="0"/>
                <a:cs typeface="Times New Roman" pitchFamily="18" charset="0"/>
              </a:rPr>
              <a:t>Its location traverses the intersection of the Zambezi and Chobe rivers and at this point, two countries - Botswana and Zambia.</a:t>
            </a:r>
          </a:p>
          <a:p>
            <a:pPr algn="just"/>
            <a:r>
              <a:rPr lang="en-ZW" sz="3200" dirty="0">
                <a:latin typeface="Times New Roman" pitchFamily="18" charset="0"/>
                <a:cs typeface="Times New Roman" pitchFamily="18" charset="0"/>
              </a:rPr>
              <a:t>The bridge and one-stop-border-post facilities aims to enhance regional trade, integration and spur global competitiveness</a:t>
            </a:r>
          </a:p>
          <a:p>
            <a:pPr algn="just"/>
            <a:r>
              <a:rPr lang="en-ZW" sz="3200" dirty="0">
                <a:latin typeface="Times New Roman" pitchFamily="18" charset="0"/>
                <a:cs typeface="Times New Roman" pitchFamily="18" charset="0"/>
              </a:rPr>
              <a:t>The development was initially meant to be a tripartite arrangement on the North-South Corridor within the SADC region and is part of a corridor-long infrastructure improvement programme, to enhance regional trade and integration.</a:t>
            </a:r>
          </a:p>
          <a:p>
            <a:pPr algn="just"/>
            <a:r>
              <a:rPr lang="en-ZW" sz="3200" dirty="0">
                <a:latin typeface="Times New Roman" pitchFamily="18" charset="0"/>
                <a:cs typeface="Times New Roman" pitchFamily="18" charset="0"/>
              </a:rPr>
              <a:t>The </a:t>
            </a:r>
            <a:r>
              <a:rPr lang="en-ZW" sz="3200" dirty="0" err="1">
                <a:latin typeface="Times New Roman" pitchFamily="18" charset="0"/>
                <a:cs typeface="Times New Roman" pitchFamily="18" charset="0"/>
              </a:rPr>
              <a:t>Kazungula</a:t>
            </a:r>
            <a:r>
              <a:rPr lang="en-ZW" sz="3200" dirty="0">
                <a:latin typeface="Times New Roman" pitchFamily="18" charset="0"/>
                <a:cs typeface="Times New Roman" pitchFamily="18" charset="0"/>
              </a:rPr>
              <a:t> Bridge Authority located in the Republic of Botswana is a body corporate with perpetual succession and a common seal, capable of suing and being sued in its corporate name and with powers, subject to the provisions of this Act, to do all acts or things that a body corporate may, by law, do or perform.</a:t>
            </a:r>
            <a:endParaRPr lang="en-US" sz="3200" dirty="0">
              <a:latin typeface="Times New Roman" pitchFamily="18" charset="0"/>
              <a:cs typeface="Times New Roman" pitchFamily="18" charset="0"/>
            </a:endParaRPr>
          </a:p>
          <a:p>
            <a:pPr algn="just"/>
            <a:endParaRPr lang="en-US" sz="3200" dirty="0">
              <a:latin typeface="Times New Roman" pitchFamily="18" charset="0"/>
              <a:cs typeface="Times New Roman" pitchFamily="18" charset="0"/>
            </a:endParaRPr>
          </a:p>
          <a:p>
            <a:endParaRPr lang="en-US" dirty="0"/>
          </a:p>
          <a:p>
            <a:endParaRPr lang="en-US" dirty="0"/>
          </a:p>
          <a:p>
            <a:endParaRPr lang="en-US" dirty="0"/>
          </a:p>
        </p:txBody>
      </p:sp>
    </p:spTree>
    <p:extLst>
      <p:ext uri="{BB962C8B-B14F-4D97-AF65-F5344CB8AC3E}">
        <p14:creationId xmlns:p14="http://schemas.microsoft.com/office/powerpoint/2010/main" val="164988148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heme/_rels/theme2.xml.rels><?xml version="1.0" encoding="UTF-8" standalone="yes"?>
<Relationships xmlns="http://schemas.openxmlformats.org/package/2006/relationships"><Relationship Id="rId1" Type="http://schemas.openxmlformats.org/officeDocument/2006/relationships/image" Target="../media/image5.jpeg"/></Relationships>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662D91"/>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Apex">
  <a:themeElements>
    <a:clrScheme name="Apex">
      <a:dk1>
        <a:sysClr val="windowText" lastClr="000000"/>
      </a:dk1>
      <a:lt1>
        <a:sysClr val="window" lastClr="FFFFFF"/>
      </a:lt1>
      <a:dk2>
        <a:srgbClr val="69676D"/>
      </a:dk2>
      <a:lt2>
        <a:srgbClr val="C9C2D1"/>
      </a:lt2>
      <a:accent1>
        <a:srgbClr val="CEB966"/>
      </a:accent1>
      <a:accent2>
        <a:srgbClr val="9CB084"/>
      </a:accent2>
      <a:accent3>
        <a:srgbClr val="6BB1C9"/>
      </a:accent3>
      <a:accent4>
        <a:srgbClr val="6585CF"/>
      </a:accent4>
      <a:accent5>
        <a:srgbClr val="7E6BC9"/>
      </a:accent5>
      <a:accent6>
        <a:srgbClr val="A379BB"/>
      </a:accent6>
      <a:hlink>
        <a:srgbClr val="410082"/>
      </a:hlink>
      <a:folHlink>
        <a:srgbClr val="932968"/>
      </a:folHlink>
    </a:clrScheme>
    <a:fontScheme name="Apex">
      <a:majorFont>
        <a:latin typeface="Lucida Sans"/>
        <a:ea typeface=""/>
        <a:cs typeface=""/>
        <a:font script="Grek" typeface="Arial"/>
        <a:font script="Cyrl" typeface="Arial"/>
        <a:font script="Jpan" typeface="HG丸ｺﾞｼｯｸM-PRO"/>
        <a:font script="Hang" typeface="휴먼옛체"/>
        <a:font script="Hans" typeface="黑体"/>
        <a:font script="Hant" typeface="微軟正黑體"/>
        <a:font script="Arab" typeface="Tahoma"/>
        <a:font script="Hebr" typeface="Levenim MT"/>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Book Antiqua"/>
        <a:ea typeface=""/>
        <a:cs typeface=""/>
        <a:font script="Grek" typeface="Times New Roman"/>
        <a:font script="Cyrl" typeface="Times New Roman"/>
        <a:font script="Jpan" typeface="HG明朝B"/>
        <a:font script="Hang" typeface="돋움"/>
        <a:font script="Hans" typeface="宋体"/>
        <a:font script="Hant" typeface="新細明體"/>
        <a:font script="Arab" typeface="Times New Roman"/>
        <a:font script="Hebr" typeface="David"/>
        <a:font script="Thai" typeface="EucrosiaUPC"/>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inorFont>
    </a:fontScheme>
    <a:fmtScheme name="Apex">
      <a:fillStyleLst>
        <a:solidFill>
          <a:schemeClr val="phClr"/>
        </a:solidFill>
        <a:gradFill rotWithShape="1">
          <a:gsLst>
            <a:gs pos="20000">
              <a:schemeClr val="phClr">
                <a:tint val="9000"/>
              </a:schemeClr>
            </a:gs>
            <a:gs pos="100000">
              <a:schemeClr val="phClr">
                <a:tint val="70000"/>
                <a:satMod val="100000"/>
              </a:schemeClr>
            </a:gs>
          </a:gsLst>
          <a:path path="circle">
            <a:fillToRect l="-15000" t="-15000" r="115000" b="115000"/>
          </a:path>
        </a:gradFill>
        <a:gradFill rotWithShape="1">
          <a:gsLst>
            <a:gs pos="0">
              <a:schemeClr val="phClr">
                <a:shade val="60000"/>
              </a:schemeClr>
            </a:gs>
            <a:gs pos="33000">
              <a:schemeClr val="phClr">
                <a:tint val="86500"/>
              </a:schemeClr>
            </a:gs>
            <a:gs pos="46750">
              <a:schemeClr val="phClr">
                <a:tint val="71000"/>
                <a:satMod val="112000"/>
              </a:schemeClr>
            </a:gs>
            <a:gs pos="53000">
              <a:schemeClr val="phClr">
                <a:tint val="71000"/>
                <a:satMod val="112000"/>
              </a:schemeClr>
            </a:gs>
            <a:gs pos="68000">
              <a:schemeClr val="phClr">
                <a:tint val="86000"/>
              </a:schemeClr>
            </a:gs>
            <a:gs pos="100000">
              <a:schemeClr val="phClr">
                <a:shade val="60000"/>
              </a:schemeClr>
            </a:gs>
          </a:gsLst>
          <a:lin ang="8350000" scaled="1"/>
        </a:gradFill>
      </a:fillStyleLst>
      <a:lnStyleLst>
        <a:ln w="9525" cap="flat" cmpd="sng" algn="ctr">
          <a:solidFill>
            <a:schemeClr val="phClr">
              <a:shade val="48000"/>
              <a:satMod val="110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130000" dist="101600" dir="2700000" algn="tl" rotWithShape="0">
              <a:srgbClr val="000000">
                <a:alpha val="35000"/>
              </a:srgbClr>
            </a:outerShdw>
          </a:effectLst>
        </a:effectStyle>
        <a:effectStyle>
          <a:effectLst>
            <a:outerShdw blurRad="190500" dist="228600" dir="2700000" sy="90000" rotWithShape="0">
              <a:srgbClr val="000000">
                <a:alpha val="25500"/>
              </a:srgbClr>
            </a:outerShdw>
          </a:effectLst>
        </a:effectStyle>
        <a:effectStyle>
          <a:effectLst>
            <a:outerShdw blurRad="190500" dist="228600" dir="2700000" sy="90000" rotWithShape="0">
              <a:srgbClr val="000000">
                <a:alpha val="25500"/>
              </a:srgbClr>
            </a:outerShdw>
          </a:effectLst>
          <a:scene3d>
            <a:camera prst="orthographicFront" fov="0">
              <a:rot lat="0" lon="0" rev="0"/>
            </a:camera>
            <a:lightRig rig="soft" dir="tl">
              <a:rot lat="0" lon="0" rev="20100000"/>
            </a:lightRig>
          </a:scene3d>
          <a:sp3d>
            <a:bevelT w="50800" h="50800"/>
          </a:sp3d>
        </a:effectStyle>
      </a:effectStyleLst>
      <a:bgFillStyleLst>
        <a:solidFill>
          <a:schemeClr val="phClr"/>
        </a:solidFill>
        <a:gradFill rotWithShape="1">
          <a:gsLst>
            <a:gs pos="0">
              <a:schemeClr val="phClr">
                <a:tint val="50000"/>
                <a:satMod val="180000"/>
              </a:schemeClr>
            </a:gs>
            <a:gs pos="100000">
              <a:schemeClr val="phClr">
                <a:shade val="45000"/>
                <a:satMod val="120000"/>
              </a:schemeClr>
            </a:gs>
          </a:gsLst>
          <a:path path="circle">
            <a:fillToRect r="100000" b="100000"/>
          </a:path>
        </a:gradFill>
        <a:blipFill>
          <a:blip xmlns:r="http://schemas.openxmlformats.org/officeDocument/2006/relationships" r:embed="rId1">
            <a:duotone>
              <a:schemeClr val="phClr">
                <a:shade val="3000"/>
                <a:satMod val="110000"/>
              </a:schemeClr>
              <a:schemeClr val="phClr">
                <a:tint val="60000"/>
                <a:satMod val="425000"/>
              </a:schemeClr>
            </a:duotone>
          </a:blip>
          <a:stretch>
            <a:fillRect/>
          </a:stretch>
        </a:blip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25879</TotalTime>
  <Words>1769</Words>
  <Application>Microsoft Office PowerPoint</Application>
  <PresentationFormat>Widescreen</PresentationFormat>
  <Paragraphs>134</Paragraphs>
  <Slides>18</Slides>
  <Notes>2</Notes>
  <HiddenSlides>0</HiddenSlides>
  <MMClips>0</MMClips>
  <ScaleCrop>false</ScaleCrop>
  <HeadingPairs>
    <vt:vector size="6" baseType="variant">
      <vt:variant>
        <vt:lpstr>Fonts Used</vt:lpstr>
      </vt:variant>
      <vt:variant>
        <vt:i4>14</vt:i4>
      </vt:variant>
      <vt:variant>
        <vt:lpstr>Theme</vt:lpstr>
      </vt:variant>
      <vt:variant>
        <vt:i4>2</vt:i4>
      </vt:variant>
      <vt:variant>
        <vt:lpstr>Slide Titles</vt:lpstr>
      </vt:variant>
      <vt:variant>
        <vt:i4>18</vt:i4>
      </vt:variant>
    </vt:vector>
  </HeadingPairs>
  <TitlesOfParts>
    <vt:vector size="34" baseType="lpstr">
      <vt:lpstr>Arial</vt:lpstr>
      <vt:lpstr>Book Antiqua</vt:lpstr>
      <vt:lpstr>Calibri</vt:lpstr>
      <vt:lpstr>Calibri Light</vt:lpstr>
      <vt:lpstr>Chivo</vt:lpstr>
      <vt:lpstr>Lucida Sans</vt:lpstr>
      <vt:lpstr>PT Sans</vt:lpstr>
      <vt:lpstr>Roboto Condensed</vt:lpstr>
      <vt:lpstr>Roboto Condensed bold</vt:lpstr>
      <vt:lpstr>Roboto Condensed Medium</vt:lpstr>
      <vt:lpstr>Times New Roman</vt:lpstr>
      <vt:lpstr>Wingdings</vt:lpstr>
      <vt:lpstr>Wingdings 2</vt:lpstr>
      <vt:lpstr>Wingdings 3</vt:lpstr>
      <vt:lpstr>Office Theme</vt:lpstr>
      <vt:lpstr>Apex</vt:lpstr>
      <vt:lpstr>PowerPoint Presentation</vt:lpstr>
      <vt:lpstr>Zambia and its Neighbors</vt:lpstr>
      <vt:lpstr>PowerPoint Presentation</vt:lpstr>
      <vt:lpstr>13 facts about Zambia</vt:lpstr>
      <vt:lpstr>PowerPoint Presentation</vt:lpstr>
      <vt:lpstr>PowerPoint Presentation</vt:lpstr>
      <vt:lpstr>PowerPoint Presentation</vt:lpstr>
      <vt:lpstr>MARKET AND TRANSPORT OPPORTUNITIES</vt:lpstr>
      <vt:lpstr>Kazungula Bridge</vt:lpstr>
      <vt:lpstr>Kazungula Bridge cont.</vt:lpstr>
      <vt:lpstr>TRADE OPPORTUNITIES</vt:lpstr>
      <vt:lpstr>NAMAFULO-BINGA BORDER POST</vt:lpstr>
      <vt:lpstr>TOURISM OPPORTUNITIES</vt:lpstr>
      <vt:lpstr>Construction of Lion’s Den–Kafue Railway Project and the  Bilateral Rail Transport Agreement </vt:lpstr>
      <vt:lpstr>LOWER ZAMBEZI-MANA POOLS TFCA</vt:lpstr>
      <vt:lpstr>ZAMBIA AND ZIMBABWE PROJECTS</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Ruby Andriansyah</dc:creator>
  <cp:lastModifiedBy>Derick Livune</cp:lastModifiedBy>
  <cp:revision>226</cp:revision>
  <dcterms:created xsi:type="dcterms:W3CDTF">2021-10-04T22:32:50Z</dcterms:created>
  <dcterms:modified xsi:type="dcterms:W3CDTF">2024-10-03T06:34:49Z</dcterms:modified>
</cp:coreProperties>
</file>